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9.xml" ContentType="application/vnd.openxmlformats-officedocument.presentationml.tags+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0.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38"/>
  </p:notesMasterIdLst>
  <p:sldIdLst>
    <p:sldId id="256" r:id="rId4"/>
    <p:sldId id="259" r:id="rId5"/>
    <p:sldId id="276" r:id="rId6"/>
    <p:sldId id="677" r:id="rId7"/>
    <p:sldId id="750" r:id="rId8"/>
    <p:sldId id="749" r:id="rId9"/>
    <p:sldId id="286" r:id="rId10"/>
    <p:sldId id="667" r:id="rId11"/>
    <p:sldId id="696" r:id="rId12"/>
    <p:sldId id="755" r:id="rId13"/>
    <p:sldId id="751" r:id="rId14"/>
    <p:sldId id="752" r:id="rId15"/>
    <p:sldId id="753" r:id="rId16"/>
    <p:sldId id="754" r:id="rId17"/>
    <p:sldId id="748" r:id="rId18"/>
    <p:sldId id="759" r:id="rId19"/>
    <p:sldId id="741" r:id="rId20"/>
    <p:sldId id="757" r:id="rId21"/>
    <p:sldId id="378" r:id="rId22"/>
    <p:sldId id="672" r:id="rId23"/>
    <p:sldId id="285" r:id="rId24"/>
    <p:sldId id="770" r:id="rId25"/>
    <p:sldId id="769" r:id="rId26"/>
    <p:sldId id="760" r:id="rId27"/>
    <p:sldId id="701" r:id="rId28"/>
    <p:sldId id="720" r:id="rId29"/>
    <p:sldId id="761" r:id="rId30"/>
    <p:sldId id="762" r:id="rId31"/>
    <p:sldId id="763" r:id="rId32"/>
    <p:sldId id="764" r:id="rId33"/>
    <p:sldId id="765" r:id="rId34"/>
    <p:sldId id="767" r:id="rId35"/>
    <p:sldId id="768" r:id="rId36"/>
    <p:sldId id="746" r:id="rId3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gidadmin" initials="c" lastIdx="1" clrIdx="0">
    <p:extLst>
      <p:ext uri="{19B8F6BF-5375-455C-9EA6-DF929625EA0E}">
        <p15:presenceInfo xmlns:p15="http://schemas.microsoft.com/office/powerpoint/2012/main" userId="cegidadmin" providerId="None"/>
      </p:ext>
    </p:extLst>
  </p:cmAuthor>
  <p:cmAuthor id="2" name="christophe CHUECOS-FONT" initials="cCF" lastIdx="1" clrIdx="1">
    <p:extLst>
      <p:ext uri="{19B8F6BF-5375-455C-9EA6-DF929625EA0E}">
        <p15:presenceInfo xmlns:p15="http://schemas.microsoft.com/office/powerpoint/2012/main" userId="christophe CHUECOS-FO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20" d="100"/>
          <a:sy n="120" d="100"/>
        </p:scale>
        <p:origin x="120" y="2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commentAuthors" Target="commentAuthor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 CHUECOS-FONT" userId="7e57acaa-4bc6-4644-8edc-0ecdded28594" providerId="ADAL" clId="{819EB071-1A71-44DD-9077-DEFE9E06D622}"/>
    <pc:docChg chg="addSld delSld">
      <pc:chgData name="christophe CHUECOS-FONT" userId="7e57acaa-4bc6-4644-8edc-0ecdded28594" providerId="ADAL" clId="{819EB071-1A71-44DD-9077-DEFE9E06D622}" dt="2021-05-05T06:33:41.551" v="2" actId="2696"/>
      <pc:docMkLst>
        <pc:docMk/>
      </pc:docMkLst>
      <pc:sldChg chg="del">
        <pc:chgData name="christophe CHUECOS-FONT" userId="7e57acaa-4bc6-4644-8edc-0ecdded28594" providerId="ADAL" clId="{819EB071-1A71-44DD-9077-DEFE9E06D622}" dt="2021-04-29T22:26:29.630" v="0" actId="2696"/>
        <pc:sldMkLst>
          <pc:docMk/>
          <pc:sldMk cId="3006974179" sldId="766"/>
        </pc:sldMkLst>
      </pc:sldChg>
      <pc:sldChg chg="add del">
        <pc:chgData name="christophe CHUECOS-FONT" userId="7e57acaa-4bc6-4644-8edc-0ecdded28594" providerId="ADAL" clId="{819EB071-1A71-44DD-9077-DEFE9E06D622}" dt="2021-05-05T06:33:41.551" v="2" actId="2696"/>
        <pc:sldMkLst>
          <pc:docMk/>
          <pc:sldMk cId="1137848859" sldId="771"/>
        </pc:sldMkLst>
      </pc:sldChg>
    </pc:docChg>
  </pc:docChgLst>
  <pc:docChgLst>
    <pc:chgData name="christophe CHUECOS-FONT" userId="7e57acaa-4bc6-4644-8edc-0ecdded28594" providerId="ADAL" clId="{9817B8E0-72E5-4A80-920F-95B62F123057}"/>
    <pc:docChg chg="undo custSel addSld delSld modSld sldOrd">
      <pc:chgData name="christophe CHUECOS-FONT" userId="7e57acaa-4bc6-4644-8edc-0ecdded28594" providerId="ADAL" clId="{9817B8E0-72E5-4A80-920F-95B62F123057}" dt="2021-02-05T13:29:54.453" v="3222" actId="21"/>
      <pc:docMkLst>
        <pc:docMk/>
      </pc:docMkLst>
      <pc:sldChg chg="addSp modSp mod setBg setClrOvrMap">
        <pc:chgData name="christophe CHUECOS-FONT" userId="7e57acaa-4bc6-4644-8edc-0ecdded28594" providerId="ADAL" clId="{9817B8E0-72E5-4A80-920F-95B62F123057}" dt="2021-02-05T12:24:16.456" v="2136" actId="27636"/>
        <pc:sldMkLst>
          <pc:docMk/>
          <pc:sldMk cId="3848639155" sldId="256"/>
        </pc:sldMkLst>
        <pc:spChg chg="mod">
          <ac:chgData name="christophe CHUECOS-FONT" userId="7e57acaa-4bc6-4644-8edc-0ecdded28594" providerId="ADAL" clId="{9817B8E0-72E5-4A80-920F-95B62F123057}" dt="2021-02-05T12:24:00.339" v="2134" actId="27636"/>
          <ac:spMkLst>
            <pc:docMk/>
            <pc:sldMk cId="3848639155" sldId="256"/>
            <ac:spMk id="2" creationId="{CF09AF2F-022D-42E7-9EE8-B11BCE898DAB}"/>
          </ac:spMkLst>
        </pc:spChg>
        <pc:spChg chg="mod">
          <ac:chgData name="christophe CHUECOS-FONT" userId="7e57acaa-4bc6-4644-8edc-0ecdded28594" providerId="ADAL" clId="{9817B8E0-72E5-4A80-920F-95B62F123057}" dt="2021-02-05T12:24:16.456" v="2136" actId="27636"/>
          <ac:spMkLst>
            <pc:docMk/>
            <pc:sldMk cId="3848639155" sldId="256"/>
            <ac:spMk id="3" creationId="{21349F9F-31B4-41DC-B4DB-C097467B5266}"/>
          </ac:spMkLst>
        </pc:spChg>
        <pc:spChg chg="add">
          <ac:chgData name="christophe CHUECOS-FONT" userId="7e57acaa-4bc6-4644-8edc-0ecdded28594" providerId="ADAL" clId="{9817B8E0-72E5-4A80-920F-95B62F123057}" dt="2021-02-05T11:22:21.187" v="69" actId="26606"/>
          <ac:spMkLst>
            <pc:docMk/>
            <pc:sldMk cId="3848639155" sldId="256"/>
            <ac:spMk id="9" creationId="{E49CC64F-7275-4E33-961B-0C5CDC439875}"/>
          </ac:spMkLst>
        </pc:spChg>
        <pc:picChg chg="add">
          <ac:chgData name="christophe CHUECOS-FONT" userId="7e57acaa-4bc6-4644-8edc-0ecdded28594" providerId="ADAL" clId="{9817B8E0-72E5-4A80-920F-95B62F123057}" dt="2021-02-05T11:22:21.187" v="69" actId="26606"/>
          <ac:picMkLst>
            <pc:docMk/>
            <pc:sldMk cId="3848639155" sldId="256"/>
            <ac:picMk id="5" creationId="{7BB6D41E-7376-4805-B0B6-C72AFA381B66}"/>
          </ac:picMkLst>
        </pc:picChg>
      </pc:sldChg>
      <pc:sldChg chg="modSp del mod">
        <pc:chgData name="christophe CHUECOS-FONT" userId="7e57acaa-4bc6-4644-8edc-0ecdded28594" providerId="ADAL" clId="{9817B8E0-72E5-4A80-920F-95B62F123057}" dt="2021-02-05T11:33:50.202" v="489" actId="47"/>
        <pc:sldMkLst>
          <pc:docMk/>
          <pc:sldMk cId="206537414" sldId="257"/>
        </pc:sldMkLst>
        <pc:spChg chg="mod">
          <ac:chgData name="christophe CHUECOS-FONT" userId="7e57acaa-4bc6-4644-8edc-0ecdded28594" providerId="ADAL" clId="{9817B8E0-72E5-4A80-920F-95B62F123057}" dt="2021-02-05T11:27:44.214" v="211" actId="688"/>
          <ac:spMkLst>
            <pc:docMk/>
            <pc:sldMk cId="206537414" sldId="257"/>
            <ac:spMk id="2" creationId="{1C3FB199-37AF-4AEB-91D2-99997345373F}"/>
          </ac:spMkLst>
        </pc:spChg>
        <pc:spChg chg="mod">
          <ac:chgData name="christophe CHUECOS-FONT" userId="7e57acaa-4bc6-4644-8edc-0ecdded28594" providerId="ADAL" clId="{9817B8E0-72E5-4A80-920F-95B62F123057}" dt="2021-02-05T11:27:53.275" v="212" actId="21"/>
          <ac:spMkLst>
            <pc:docMk/>
            <pc:sldMk cId="206537414" sldId="257"/>
            <ac:spMk id="4" creationId="{46D878E7-F5C5-452B-937D-8840816B6ECF}"/>
          </ac:spMkLst>
        </pc:spChg>
      </pc:sldChg>
      <pc:sldChg chg="del">
        <pc:chgData name="christophe CHUECOS-FONT" userId="7e57acaa-4bc6-4644-8edc-0ecdded28594" providerId="ADAL" clId="{9817B8E0-72E5-4A80-920F-95B62F123057}" dt="2021-02-05T11:48:37.765" v="1181" actId="47"/>
        <pc:sldMkLst>
          <pc:docMk/>
          <pc:sldMk cId="3809771353" sldId="258"/>
        </pc:sldMkLst>
      </pc:sldChg>
      <pc:sldChg chg="modSp mod ord">
        <pc:chgData name="christophe CHUECOS-FONT" userId="7e57acaa-4bc6-4644-8edc-0ecdded28594" providerId="ADAL" clId="{9817B8E0-72E5-4A80-920F-95B62F123057}" dt="2021-02-05T12:24:32.328" v="2138" actId="2711"/>
        <pc:sldMkLst>
          <pc:docMk/>
          <pc:sldMk cId="3714222650" sldId="259"/>
        </pc:sldMkLst>
        <pc:spChg chg="mod">
          <ac:chgData name="christophe CHUECOS-FONT" userId="7e57acaa-4bc6-4644-8edc-0ecdded28594" providerId="ADAL" clId="{9817B8E0-72E5-4A80-920F-95B62F123057}" dt="2021-02-05T12:24:32.328" v="2138" actId="2711"/>
          <ac:spMkLst>
            <pc:docMk/>
            <pc:sldMk cId="3714222650" sldId="259"/>
            <ac:spMk id="2" creationId="{1C3FB199-37AF-4AEB-91D2-99997345373F}"/>
          </ac:spMkLst>
        </pc:spChg>
        <pc:spChg chg="mod">
          <ac:chgData name="christophe CHUECOS-FONT" userId="7e57acaa-4bc6-4644-8edc-0ecdded28594" providerId="ADAL" clId="{9817B8E0-72E5-4A80-920F-95B62F123057}" dt="2021-02-05T12:24:26.880" v="2137" actId="2711"/>
          <ac:spMkLst>
            <pc:docMk/>
            <pc:sldMk cId="3714222650" sldId="259"/>
            <ac:spMk id="3" creationId="{775A997C-8194-4B08-BB3E-D1F92744FD2D}"/>
          </ac:spMkLst>
        </pc:spChg>
      </pc:sldChg>
      <pc:sldChg chg="del">
        <pc:chgData name="christophe CHUECOS-FONT" userId="7e57acaa-4bc6-4644-8edc-0ecdded28594" providerId="ADAL" clId="{9817B8E0-72E5-4A80-920F-95B62F123057}" dt="2021-02-05T11:48:37.765" v="1181" actId="47"/>
        <pc:sldMkLst>
          <pc:docMk/>
          <pc:sldMk cId="2379008173" sldId="261"/>
        </pc:sldMkLst>
      </pc:sldChg>
      <pc:sldChg chg="del">
        <pc:chgData name="christophe CHUECOS-FONT" userId="7e57acaa-4bc6-4644-8edc-0ecdded28594" providerId="ADAL" clId="{9817B8E0-72E5-4A80-920F-95B62F123057}" dt="2021-02-05T11:48:37.765" v="1181" actId="47"/>
        <pc:sldMkLst>
          <pc:docMk/>
          <pc:sldMk cId="2864700410" sldId="266"/>
        </pc:sldMkLst>
      </pc:sldChg>
      <pc:sldChg chg="del">
        <pc:chgData name="christophe CHUECOS-FONT" userId="7e57acaa-4bc6-4644-8edc-0ecdded28594" providerId="ADAL" clId="{9817B8E0-72E5-4A80-920F-95B62F123057}" dt="2021-02-05T11:48:37.765" v="1181" actId="47"/>
        <pc:sldMkLst>
          <pc:docMk/>
          <pc:sldMk cId="997367023" sldId="267"/>
        </pc:sldMkLst>
      </pc:sldChg>
      <pc:sldChg chg="del">
        <pc:chgData name="christophe CHUECOS-FONT" userId="7e57acaa-4bc6-4644-8edc-0ecdded28594" providerId="ADAL" clId="{9817B8E0-72E5-4A80-920F-95B62F123057}" dt="2021-02-05T11:48:37.765" v="1181" actId="47"/>
        <pc:sldMkLst>
          <pc:docMk/>
          <pc:sldMk cId="2362574531" sldId="269"/>
        </pc:sldMkLst>
      </pc:sldChg>
      <pc:sldChg chg="del">
        <pc:chgData name="christophe CHUECOS-FONT" userId="7e57acaa-4bc6-4644-8edc-0ecdded28594" providerId="ADAL" clId="{9817B8E0-72E5-4A80-920F-95B62F123057}" dt="2021-02-05T12:37:10.431" v="2312" actId="47"/>
        <pc:sldMkLst>
          <pc:docMk/>
          <pc:sldMk cId="2390251229" sldId="270"/>
        </pc:sldMkLst>
      </pc:sldChg>
      <pc:sldChg chg="addSp delSp modSp mod setBg">
        <pc:chgData name="christophe CHUECOS-FONT" userId="7e57acaa-4bc6-4644-8edc-0ecdded28594" providerId="ADAL" clId="{9817B8E0-72E5-4A80-920F-95B62F123057}" dt="2021-02-05T12:24:44.312" v="2140" actId="2711"/>
        <pc:sldMkLst>
          <pc:docMk/>
          <pc:sldMk cId="251691404" sldId="276"/>
        </pc:sldMkLst>
        <pc:spChg chg="mod">
          <ac:chgData name="christophe CHUECOS-FONT" userId="7e57acaa-4bc6-4644-8edc-0ecdded28594" providerId="ADAL" clId="{9817B8E0-72E5-4A80-920F-95B62F123057}" dt="2021-02-05T12:24:37.845" v="2139" actId="2711"/>
          <ac:spMkLst>
            <pc:docMk/>
            <pc:sldMk cId="251691404" sldId="276"/>
            <ac:spMk id="2" creationId="{1C3FB199-37AF-4AEB-91D2-99997345373F}"/>
          </ac:spMkLst>
        </pc:spChg>
        <pc:spChg chg="mod">
          <ac:chgData name="christophe CHUECOS-FONT" userId="7e57acaa-4bc6-4644-8edc-0ecdded28594" providerId="ADAL" clId="{9817B8E0-72E5-4A80-920F-95B62F123057}" dt="2021-02-05T11:33:58.770" v="492" actId="6549"/>
          <ac:spMkLst>
            <pc:docMk/>
            <pc:sldMk cId="251691404" sldId="276"/>
            <ac:spMk id="4" creationId="{46D878E7-F5C5-452B-937D-8840816B6ECF}"/>
          </ac:spMkLst>
        </pc:spChg>
        <pc:spChg chg="del">
          <ac:chgData name="christophe CHUECOS-FONT" userId="7e57acaa-4bc6-4644-8edc-0ecdded28594" providerId="ADAL" clId="{9817B8E0-72E5-4A80-920F-95B62F123057}" dt="2021-02-05T11:44:29.363" v="997" actId="26606"/>
          <ac:spMkLst>
            <pc:docMk/>
            <pc:sldMk cId="251691404" sldId="276"/>
            <ac:spMk id="35" creationId="{A3BAF07C-C39E-42EB-BB22-8D46691D9735}"/>
          </ac:spMkLst>
        </pc:spChg>
        <pc:spChg chg="del">
          <ac:chgData name="christophe CHUECOS-FONT" userId="7e57acaa-4bc6-4644-8edc-0ecdded28594" providerId="ADAL" clId="{9817B8E0-72E5-4A80-920F-95B62F123057}" dt="2021-02-05T11:44:29.363" v="997" actId="26606"/>
          <ac:spMkLst>
            <pc:docMk/>
            <pc:sldMk cId="251691404" sldId="276"/>
            <ac:spMk id="36" creationId="{A7795DFA-888F-47E2-B44E-DE1D3B3E46A4}"/>
          </ac:spMkLst>
        </pc:spChg>
        <pc:grpChg chg="del">
          <ac:chgData name="christophe CHUECOS-FONT" userId="7e57acaa-4bc6-4644-8edc-0ecdded28594" providerId="ADAL" clId="{9817B8E0-72E5-4A80-920F-95B62F123057}" dt="2021-02-05T11:44:29.363" v="997" actId="26606"/>
          <ac:grpSpMkLst>
            <pc:docMk/>
            <pc:sldMk cId="251691404" sldId="276"/>
            <ac:grpSpMk id="37" creationId="{D8E9CF54-0466-4261-9E62-0249E60E1886}"/>
          </ac:grpSpMkLst>
        </pc:grpChg>
        <pc:graphicFrameChg chg="add mod modGraphic">
          <ac:chgData name="christophe CHUECOS-FONT" userId="7e57acaa-4bc6-4644-8edc-0ecdded28594" providerId="ADAL" clId="{9817B8E0-72E5-4A80-920F-95B62F123057}" dt="2021-02-05T12:24:44.312" v="2140" actId="2711"/>
          <ac:graphicFrameMkLst>
            <pc:docMk/>
            <pc:sldMk cId="251691404" sldId="276"/>
            <ac:graphicFrameMk id="3" creationId="{90A39BD7-E179-4570-8079-E6A295B49267}"/>
          </ac:graphicFrameMkLst>
        </pc:graphicFrameChg>
        <pc:picChg chg="del">
          <ac:chgData name="christophe CHUECOS-FONT" userId="7e57acaa-4bc6-4644-8edc-0ecdded28594" providerId="ADAL" clId="{9817B8E0-72E5-4A80-920F-95B62F123057}" dt="2021-02-05T11:34:01.422" v="493" actId="478"/>
          <ac:picMkLst>
            <pc:docMk/>
            <pc:sldMk cId="251691404" sldId="276"/>
            <ac:picMk id="5" creationId="{FDB63342-D046-498C-9EBC-55F07AABEE34}"/>
          </ac:picMkLst>
        </pc:picChg>
      </pc:sldChg>
      <pc:sldChg chg="del">
        <pc:chgData name="christophe CHUECOS-FONT" userId="7e57acaa-4bc6-4644-8edc-0ecdded28594" providerId="ADAL" clId="{9817B8E0-72E5-4A80-920F-95B62F123057}" dt="2021-02-05T11:33:50.658" v="490" actId="47"/>
        <pc:sldMkLst>
          <pc:docMk/>
          <pc:sldMk cId="2397986130" sldId="277"/>
        </pc:sldMkLst>
      </pc:sldChg>
      <pc:sldChg chg="del">
        <pc:chgData name="christophe CHUECOS-FONT" userId="7e57acaa-4bc6-4644-8edc-0ecdded28594" providerId="ADAL" clId="{9817B8E0-72E5-4A80-920F-95B62F123057}" dt="2021-02-05T11:48:37.765" v="1181" actId="47"/>
        <pc:sldMkLst>
          <pc:docMk/>
          <pc:sldMk cId="3681988257" sldId="278"/>
        </pc:sldMkLst>
      </pc:sldChg>
      <pc:sldChg chg="del">
        <pc:chgData name="christophe CHUECOS-FONT" userId="7e57acaa-4bc6-4644-8edc-0ecdded28594" providerId="ADAL" clId="{9817B8E0-72E5-4A80-920F-95B62F123057}" dt="2021-02-05T11:48:37.765" v="1181" actId="47"/>
        <pc:sldMkLst>
          <pc:docMk/>
          <pc:sldMk cId="2204652671" sldId="279"/>
        </pc:sldMkLst>
      </pc:sldChg>
      <pc:sldChg chg="del">
        <pc:chgData name="christophe CHUECOS-FONT" userId="7e57acaa-4bc6-4644-8edc-0ecdded28594" providerId="ADAL" clId="{9817B8E0-72E5-4A80-920F-95B62F123057}" dt="2021-02-05T11:48:37.765" v="1181" actId="47"/>
        <pc:sldMkLst>
          <pc:docMk/>
          <pc:sldMk cId="2034358850" sldId="280"/>
        </pc:sldMkLst>
      </pc:sldChg>
      <pc:sldChg chg="del">
        <pc:chgData name="christophe CHUECOS-FONT" userId="7e57acaa-4bc6-4644-8edc-0ecdded28594" providerId="ADAL" clId="{9817B8E0-72E5-4A80-920F-95B62F123057}" dt="2021-02-05T11:48:37.765" v="1181" actId="47"/>
        <pc:sldMkLst>
          <pc:docMk/>
          <pc:sldMk cId="4019404366" sldId="281"/>
        </pc:sldMkLst>
      </pc:sldChg>
      <pc:sldChg chg="del">
        <pc:chgData name="christophe CHUECOS-FONT" userId="7e57acaa-4bc6-4644-8edc-0ecdded28594" providerId="ADAL" clId="{9817B8E0-72E5-4A80-920F-95B62F123057}" dt="2021-02-05T11:48:37.765" v="1181" actId="47"/>
        <pc:sldMkLst>
          <pc:docMk/>
          <pc:sldMk cId="3584520135" sldId="282"/>
        </pc:sldMkLst>
      </pc:sldChg>
      <pc:sldChg chg="del">
        <pc:chgData name="christophe CHUECOS-FONT" userId="7e57acaa-4bc6-4644-8edc-0ecdded28594" providerId="ADAL" clId="{9817B8E0-72E5-4A80-920F-95B62F123057}" dt="2021-02-05T11:48:37.765" v="1181" actId="47"/>
        <pc:sldMkLst>
          <pc:docMk/>
          <pc:sldMk cId="2467058271" sldId="283"/>
        </pc:sldMkLst>
      </pc:sldChg>
      <pc:sldChg chg="addSp delSp modSp mod setBg delDesignElem">
        <pc:chgData name="christophe CHUECOS-FONT" userId="7e57acaa-4bc6-4644-8edc-0ecdded28594" providerId="ADAL" clId="{9817B8E0-72E5-4A80-920F-95B62F123057}" dt="2021-02-05T13:27:44.496" v="3207" actId="26606"/>
        <pc:sldMkLst>
          <pc:docMk/>
          <pc:sldMk cId="3185261458" sldId="285"/>
        </pc:sldMkLst>
        <pc:spChg chg="mod">
          <ac:chgData name="christophe CHUECOS-FONT" userId="7e57acaa-4bc6-4644-8edc-0ecdded28594" providerId="ADAL" clId="{9817B8E0-72E5-4A80-920F-95B62F123057}" dt="2021-02-05T13:27:44.496" v="3207" actId="26606"/>
          <ac:spMkLst>
            <pc:docMk/>
            <pc:sldMk cId="3185261458" sldId="285"/>
            <ac:spMk id="2" creationId="{00000000-0000-0000-0000-000000000000}"/>
          </ac:spMkLst>
        </pc:spChg>
        <pc:spChg chg="mod">
          <ac:chgData name="christophe CHUECOS-FONT" userId="7e57acaa-4bc6-4644-8edc-0ecdded28594" providerId="ADAL" clId="{9817B8E0-72E5-4A80-920F-95B62F123057}" dt="2021-02-05T13:27:44.496" v="3207" actId="26606"/>
          <ac:spMkLst>
            <pc:docMk/>
            <pc:sldMk cId="3185261458" sldId="285"/>
            <ac:spMk id="10" creationId="{2104DD9E-7F53-465D-8561-41BB61362ACA}"/>
          </ac:spMkLst>
        </pc:spChg>
        <pc:spChg chg="add del">
          <ac:chgData name="christophe CHUECOS-FONT" userId="7e57acaa-4bc6-4644-8edc-0ecdded28594" providerId="ADAL" clId="{9817B8E0-72E5-4A80-920F-95B62F123057}" dt="2021-02-05T13:27:44.480" v="3206" actId="26606"/>
          <ac:spMkLst>
            <pc:docMk/>
            <pc:sldMk cId="3185261458" sldId="285"/>
            <ac:spMk id="15" creationId="{5C8908E2-EE49-44D2-9428-A28D2312A8D5}"/>
          </ac:spMkLst>
        </pc:spChg>
        <pc:spChg chg="add del">
          <ac:chgData name="christophe CHUECOS-FONT" userId="7e57acaa-4bc6-4644-8edc-0ecdded28594" providerId="ADAL" clId="{9817B8E0-72E5-4A80-920F-95B62F123057}" dt="2021-02-05T13:27:44.480" v="3206" actId="26606"/>
          <ac:spMkLst>
            <pc:docMk/>
            <pc:sldMk cId="3185261458" sldId="285"/>
            <ac:spMk id="21" creationId="{47159AC2-C98F-4C93-B774-B19EE1BEBDB1}"/>
          </ac:spMkLst>
        </pc:spChg>
        <pc:spChg chg="add del">
          <ac:chgData name="christophe CHUECOS-FONT" userId="7e57acaa-4bc6-4644-8edc-0ecdded28594" providerId="ADAL" clId="{9817B8E0-72E5-4A80-920F-95B62F123057}" dt="2021-02-05T13:27:44.480" v="3206" actId="26606"/>
          <ac:spMkLst>
            <pc:docMk/>
            <pc:sldMk cId="3185261458" sldId="285"/>
            <ac:spMk id="23" creationId="{ED888B23-07FA-482A-96DF-47E31AF1A603}"/>
          </ac:spMkLst>
        </pc:spChg>
        <pc:spChg chg="add">
          <ac:chgData name="christophe CHUECOS-FONT" userId="7e57acaa-4bc6-4644-8edc-0ecdded28594" providerId="ADAL" clId="{9817B8E0-72E5-4A80-920F-95B62F123057}" dt="2021-02-05T13:27:44.496" v="3207" actId="26606"/>
          <ac:spMkLst>
            <pc:docMk/>
            <pc:sldMk cId="3185261458" sldId="285"/>
            <ac:spMk id="25" creationId="{777A147A-9ED8-46B4-8660-1B3C2AA880B5}"/>
          </ac:spMkLst>
        </pc:spChg>
        <pc:spChg chg="add">
          <ac:chgData name="christophe CHUECOS-FONT" userId="7e57acaa-4bc6-4644-8edc-0ecdded28594" providerId="ADAL" clId="{9817B8E0-72E5-4A80-920F-95B62F123057}" dt="2021-02-05T13:27:44.496" v="3207" actId="26606"/>
          <ac:spMkLst>
            <pc:docMk/>
            <pc:sldMk cId="3185261458" sldId="285"/>
            <ac:spMk id="26" creationId="{5D6C15A0-C087-4593-8414-2B4EC1CDC3DE}"/>
          </ac:spMkLst>
        </pc:spChg>
        <pc:grpChg chg="add del">
          <ac:chgData name="christophe CHUECOS-FONT" userId="7e57acaa-4bc6-4644-8edc-0ecdded28594" providerId="ADAL" clId="{9817B8E0-72E5-4A80-920F-95B62F123057}" dt="2021-02-05T13:27:44.480" v="3206" actId="26606"/>
          <ac:grpSpMkLst>
            <pc:docMk/>
            <pc:sldMk cId="3185261458" sldId="285"/>
            <ac:grpSpMk id="17" creationId="{8553B86A-3688-4590-934F-8CD074A9BF68}"/>
          </ac:grpSpMkLst>
        </pc:grpChg>
      </pc:sldChg>
      <pc:sldChg chg="modSp mod ord">
        <pc:chgData name="christophe CHUECOS-FONT" userId="7e57acaa-4bc6-4644-8edc-0ecdded28594" providerId="ADAL" clId="{9817B8E0-72E5-4A80-920F-95B62F123057}" dt="2021-02-05T12:40:00.548" v="2388" actId="113"/>
        <pc:sldMkLst>
          <pc:docMk/>
          <pc:sldMk cId="329831576" sldId="286"/>
        </pc:sldMkLst>
        <pc:spChg chg="mod">
          <ac:chgData name="christophe CHUECOS-FONT" userId="7e57acaa-4bc6-4644-8edc-0ecdded28594" providerId="ADAL" clId="{9817B8E0-72E5-4A80-920F-95B62F123057}" dt="2021-02-05T12:40:00.548" v="2388" actId="113"/>
          <ac:spMkLst>
            <pc:docMk/>
            <pc:sldMk cId="329831576" sldId="286"/>
            <ac:spMk id="3" creationId="{AE031ED6-BBEB-4F69-BB03-35ED79344BB4}"/>
          </ac:spMkLst>
        </pc:spChg>
      </pc:sldChg>
      <pc:sldChg chg="del ord">
        <pc:chgData name="christophe CHUECOS-FONT" userId="7e57acaa-4bc6-4644-8edc-0ecdded28594" providerId="ADAL" clId="{9817B8E0-72E5-4A80-920F-95B62F123057}" dt="2021-02-05T12:16:23.498" v="1888" actId="47"/>
        <pc:sldMkLst>
          <pc:docMk/>
          <pc:sldMk cId="2609074591" sldId="288"/>
        </pc:sldMkLst>
      </pc:sldChg>
      <pc:sldChg chg="del ord">
        <pc:chgData name="christophe CHUECOS-FONT" userId="7e57acaa-4bc6-4644-8edc-0ecdded28594" providerId="ADAL" clId="{9817B8E0-72E5-4A80-920F-95B62F123057}" dt="2021-02-05T12:37:41.579" v="2315" actId="47"/>
        <pc:sldMkLst>
          <pc:docMk/>
          <pc:sldMk cId="1567861560" sldId="289"/>
        </pc:sldMkLst>
      </pc:sldChg>
      <pc:sldChg chg="del">
        <pc:chgData name="christophe CHUECOS-FONT" userId="7e57acaa-4bc6-4644-8edc-0ecdded28594" providerId="ADAL" clId="{9817B8E0-72E5-4A80-920F-95B62F123057}" dt="2021-02-05T12:37:08.603" v="2311" actId="47"/>
        <pc:sldMkLst>
          <pc:docMk/>
          <pc:sldMk cId="244713211" sldId="291"/>
        </pc:sldMkLst>
      </pc:sldChg>
      <pc:sldChg chg="modSp mod ord">
        <pc:chgData name="christophe CHUECOS-FONT" userId="7e57acaa-4bc6-4644-8edc-0ecdded28594" providerId="ADAL" clId="{9817B8E0-72E5-4A80-920F-95B62F123057}" dt="2021-02-05T12:26:14.379" v="2163" actId="1076"/>
        <pc:sldMkLst>
          <pc:docMk/>
          <pc:sldMk cId="966349221" sldId="667"/>
        </pc:sldMkLst>
        <pc:spChg chg="mod">
          <ac:chgData name="christophe CHUECOS-FONT" userId="7e57acaa-4bc6-4644-8edc-0ecdded28594" providerId="ADAL" clId="{9817B8E0-72E5-4A80-920F-95B62F123057}" dt="2021-02-05T12:26:13.086" v="2162" actId="20577"/>
          <ac:spMkLst>
            <pc:docMk/>
            <pc:sldMk cId="966349221" sldId="667"/>
            <ac:spMk id="2" creationId="{02517F6E-26E9-44E8-815E-774552D95FD0}"/>
          </ac:spMkLst>
        </pc:spChg>
        <pc:picChg chg="mod">
          <ac:chgData name="christophe CHUECOS-FONT" userId="7e57acaa-4bc6-4644-8edc-0ecdded28594" providerId="ADAL" clId="{9817B8E0-72E5-4A80-920F-95B62F123057}" dt="2021-02-05T12:26:14.379" v="2163" actId="1076"/>
          <ac:picMkLst>
            <pc:docMk/>
            <pc:sldMk cId="966349221" sldId="667"/>
            <ac:picMk id="36" creationId="{FC9EF324-339C-4E46-9508-BF0C86AAC793}"/>
          </ac:picMkLst>
        </pc:picChg>
      </pc:sldChg>
      <pc:sldChg chg="ord">
        <pc:chgData name="christophe CHUECOS-FONT" userId="7e57acaa-4bc6-4644-8edc-0ecdded28594" providerId="ADAL" clId="{9817B8E0-72E5-4A80-920F-95B62F123057}" dt="2021-02-05T12:16:09.764" v="1883"/>
        <pc:sldMkLst>
          <pc:docMk/>
          <pc:sldMk cId="649958680" sldId="672"/>
        </pc:sldMkLst>
      </pc:sldChg>
      <pc:sldChg chg="addSp delSp modSp mod ord">
        <pc:chgData name="christophe CHUECOS-FONT" userId="7e57acaa-4bc6-4644-8edc-0ecdded28594" providerId="ADAL" clId="{9817B8E0-72E5-4A80-920F-95B62F123057}" dt="2021-02-05T12:15:34.143" v="1880" actId="6549"/>
        <pc:sldMkLst>
          <pc:docMk/>
          <pc:sldMk cId="3843576302" sldId="677"/>
        </pc:sldMkLst>
        <pc:spChg chg="mod">
          <ac:chgData name="christophe CHUECOS-FONT" userId="7e57acaa-4bc6-4644-8edc-0ecdded28594" providerId="ADAL" clId="{9817B8E0-72E5-4A80-920F-95B62F123057}" dt="2021-02-05T12:15:34.143" v="1880" actId="6549"/>
          <ac:spMkLst>
            <pc:docMk/>
            <pc:sldMk cId="3843576302" sldId="677"/>
            <ac:spMk id="2" creationId="{02517F6E-26E9-44E8-815E-774552D95FD0}"/>
          </ac:spMkLst>
        </pc:spChg>
        <pc:spChg chg="del">
          <ac:chgData name="christophe CHUECOS-FONT" userId="7e57acaa-4bc6-4644-8edc-0ecdded28594" providerId="ADAL" clId="{9817B8E0-72E5-4A80-920F-95B62F123057}" dt="2021-02-05T11:54:35.513" v="1380" actId="21"/>
          <ac:spMkLst>
            <pc:docMk/>
            <pc:sldMk cId="3843576302" sldId="677"/>
            <ac:spMk id="13" creationId="{AE64876D-DF14-4EE2-9B36-9EC38968D0B5}"/>
          </ac:spMkLst>
        </pc:spChg>
        <pc:spChg chg="del">
          <ac:chgData name="christophe CHUECOS-FONT" userId="7e57acaa-4bc6-4644-8edc-0ecdded28594" providerId="ADAL" clId="{9817B8E0-72E5-4A80-920F-95B62F123057}" dt="2021-02-05T11:54:32.554" v="1379" actId="21"/>
          <ac:spMkLst>
            <pc:docMk/>
            <pc:sldMk cId="3843576302" sldId="677"/>
            <ac:spMk id="14" creationId="{A2528021-6B36-49A2-ABF0-81A9C2CEDD8C}"/>
          </ac:spMkLst>
        </pc:spChg>
        <pc:graphicFrameChg chg="add del mod modGraphic">
          <ac:chgData name="christophe CHUECOS-FONT" userId="7e57acaa-4bc6-4644-8edc-0ecdded28594" providerId="ADAL" clId="{9817B8E0-72E5-4A80-920F-95B62F123057}" dt="2021-02-05T11:59:40.523" v="1441" actId="1032"/>
          <ac:graphicFrameMkLst>
            <pc:docMk/>
            <pc:sldMk cId="3843576302" sldId="677"/>
            <ac:graphicFrameMk id="5" creationId="{9E957F53-34EF-43A1-9268-238FC9D37C0A}"/>
          </ac:graphicFrameMkLst>
        </pc:graphicFrameChg>
      </pc:sldChg>
      <pc:sldChg chg="del ord">
        <pc:chgData name="christophe CHUECOS-FONT" userId="7e57acaa-4bc6-4644-8edc-0ecdded28594" providerId="ADAL" clId="{9817B8E0-72E5-4A80-920F-95B62F123057}" dt="2021-02-05T13:18:43.409" v="3139" actId="47"/>
        <pc:sldMkLst>
          <pc:docMk/>
          <pc:sldMk cId="2255016871" sldId="686"/>
        </pc:sldMkLst>
      </pc:sldChg>
      <pc:sldChg chg="modSp ord">
        <pc:chgData name="christophe CHUECOS-FONT" userId="7e57acaa-4bc6-4644-8edc-0ecdded28594" providerId="ADAL" clId="{9817B8E0-72E5-4A80-920F-95B62F123057}" dt="2021-02-05T12:25:44.403" v="2147" actId="2711"/>
        <pc:sldMkLst>
          <pc:docMk/>
          <pc:sldMk cId="2860654540" sldId="696"/>
        </pc:sldMkLst>
        <pc:graphicFrameChg chg="mod">
          <ac:chgData name="christophe CHUECOS-FONT" userId="7e57acaa-4bc6-4644-8edc-0ecdded28594" providerId="ADAL" clId="{9817B8E0-72E5-4A80-920F-95B62F123057}" dt="2021-02-05T12:25:44.403" v="2147" actId="2711"/>
          <ac:graphicFrameMkLst>
            <pc:docMk/>
            <pc:sldMk cId="2860654540" sldId="696"/>
            <ac:graphicFrameMk id="6" creationId="{4A6E514C-D3C4-4B29-BB5C-DB98C7CA5742}"/>
          </ac:graphicFrameMkLst>
        </pc:graphicFrameChg>
      </pc:sldChg>
      <pc:sldChg chg="del ord">
        <pc:chgData name="christophe CHUECOS-FONT" userId="7e57acaa-4bc6-4644-8edc-0ecdded28594" providerId="ADAL" clId="{9817B8E0-72E5-4A80-920F-95B62F123057}" dt="2021-02-05T12:15:57.737" v="1881" actId="47"/>
        <pc:sldMkLst>
          <pc:docMk/>
          <pc:sldMk cId="1211639872" sldId="699"/>
        </pc:sldMkLst>
      </pc:sldChg>
      <pc:sldChg chg="ord">
        <pc:chgData name="christophe CHUECOS-FONT" userId="7e57acaa-4bc6-4644-8edc-0ecdded28594" providerId="ADAL" clId="{9817B8E0-72E5-4A80-920F-95B62F123057}" dt="2021-02-05T12:16:21.721" v="1887"/>
        <pc:sldMkLst>
          <pc:docMk/>
          <pc:sldMk cId="2474754196" sldId="701"/>
        </pc:sldMkLst>
      </pc:sldChg>
      <pc:sldChg chg="addSp delSp modSp mod setBg">
        <pc:chgData name="christophe CHUECOS-FONT" userId="7e57acaa-4bc6-4644-8edc-0ecdded28594" providerId="ADAL" clId="{9817B8E0-72E5-4A80-920F-95B62F123057}" dt="2021-02-05T13:06:55.683" v="3036" actId="255"/>
        <pc:sldMkLst>
          <pc:docMk/>
          <pc:sldMk cId="1435419321" sldId="720"/>
        </pc:sldMkLst>
        <pc:spChg chg="mod">
          <ac:chgData name="christophe CHUECOS-FONT" userId="7e57acaa-4bc6-4644-8edc-0ecdded28594" providerId="ADAL" clId="{9817B8E0-72E5-4A80-920F-95B62F123057}" dt="2021-02-05T12:51:25.373" v="2772" actId="20577"/>
          <ac:spMkLst>
            <pc:docMk/>
            <pc:sldMk cId="1435419321" sldId="720"/>
            <ac:spMk id="2" creationId="{00000000-0000-0000-0000-000000000000}"/>
          </ac:spMkLst>
        </pc:spChg>
        <pc:spChg chg="ord">
          <ac:chgData name="christophe CHUECOS-FONT" userId="7e57acaa-4bc6-4644-8edc-0ecdded28594" providerId="ADAL" clId="{9817B8E0-72E5-4A80-920F-95B62F123057}" dt="2021-02-05T12:51:17.914" v="2760" actId="26606"/>
          <ac:spMkLst>
            <pc:docMk/>
            <pc:sldMk cId="1435419321" sldId="720"/>
            <ac:spMk id="3" creationId="{FE511234-0564-45CF-9753-9673E2310CC0}"/>
          </ac:spMkLst>
        </pc:spChg>
        <pc:spChg chg="mod">
          <ac:chgData name="christophe CHUECOS-FONT" userId="7e57acaa-4bc6-4644-8edc-0ecdded28594" providerId="ADAL" clId="{9817B8E0-72E5-4A80-920F-95B62F123057}" dt="2021-02-05T13:06:55.683" v="3036" actId="255"/>
          <ac:spMkLst>
            <pc:docMk/>
            <pc:sldMk cId="1435419321" sldId="720"/>
            <ac:spMk id="10" creationId="{2104DD9E-7F53-465D-8561-41BB61362ACA}"/>
          </ac:spMkLst>
        </pc:spChg>
        <pc:spChg chg="del">
          <ac:chgData name="christophe CHUECOS-FONT" userId="7e57acaa-4bc6-4644-8edc-0ecdded28594" providerId="ADAL" clId="{9817B8E0-72E5-4A80-920F-95B62F123057}" dt="2021-02-05T12:50:59.692" v="2758" actId="21"/>
          <ac:spMkLst>
            <pc:docMk/>
            <pc:sldMk cId="1435419321" sldId="720"/>
            <ac:spMk id="15" creationId="{AA543B3D-8F8C-4690-ABD5-D0AB8490C1EC}"/>
          </ac:spMkLst>
        </pc:spChg>
        <pc:spChg chg="del">
          <ac:chgData name="christophe CHUECOS-FONT" userId="7e57acaa-4bc6-4644-8edc-0ecdded28594" providerId="ADAL" clId="{9817B8E0-72E5-4A80-920F-95B62F123057}" dt="2021-02-05T12:51:03.364" v="2759" actId="21"/>
          <ac:spMkLst>
            <pc:docMk/>
            <pc:sldMk cId="1435419321" sldId="720"/>
            <ac:spMk id="16" creationId="{4DD6FF41-E944-4416-897D-4BD87EB7742E}"/>
          </ac:spMkLst>
        </pc:spChg>
        <pc:spChg chg="del">
          <ac:chgData name="christophe CHUECOS-FONT" userId="7e57acaa-4bc6-4644-8edc-0ecdded28594" providerId="ADAL" clId="{9817B8E0-72E5-4A80-920F-95B62F123057}" dt="2021-02-05T12:51:17.914" v="2760" actId="26606"/>
          <ac:spMkLst>
            <pc:docMk/>
            <pc:sldMk cId="1435419321" sldId="720"/>
            <ac:spMk id="46" creationId="{1CE580D1-F917-4567-AFB4-99AA9B52ADF0}"/>
          </ac:spMkLst>
        </pc:spChg>
        <pc:spChg chg="del">
          <ac:chgData name="christophe CHUECOS-FONT" userId="7e57acaa-4bc6-4644-8edc-0ecdded28594" providerId="ADAL" clId="{9817B8E0-72E5-4A80-920F-95B62F123057}" dt="2021-02-05T12:51:17.914" v="2760" actId="26606"/>
          <ac:spMkLst>
            <pc:docMk/>
            <pc:sldMk cId="1435419321" sldId="720"/>
            <ac:spMk id="54" creationId="{8D095B41-7312-4603-9F0F-93387C353134}"/>
          </ac:spMkLst>
        </pc:spChg>
        <pc:spChg chg="del">
          <ac:chgData name="christophe CHUECOS-FONT" userId="7e57acaa-4bc6-4644-8edc-0ecdded28594" providerId="ADAL" clId="{9817B8E0-72E5-4A80-920F-95B62F123057}" dt="2021-02-05T12:51:17.914" v="2760" actId="26606"/>
          <ac:spMkLst>
            <pc:docMk/>
            <pc:sldMk cId="1435419321" sldId="720"/>
            <ac:spMk id="56" creationId="{1042C936-444C-4F0D-9737-291EAFE1E7E4}"/>
          </ac:spMkLst>
        </pc:spChg>
        <pc:spChg chg="add">
          <ac:chgData name="christophe CHUECOS-FONT" userId="7e57acaa-4bc6-4644-8edc-0ecdded28594" providerId="ADAL" clId="{9817B8E0-72E5-4A80-920F-95B62F123057}" dt="2021-02-05T12:51:17.914" v="2760" actId="26606"/>
          <ac:spMkLst>
            <pc:docMk/>
            <pc:sldMk cId="1435419321" sldId="720"/>
            <ac:spMk id="67" creationId="{FD6EDB49-211E-499D-9A08-6C5FF3D060F7}"/>
          </ac:spMkLst>
        </pc:spChg>
        <pc:spChg chg="add">
          <ac:chgData name="christophe CHUECOS-FONT" userId="7e57acaa-4bc6-4644-8edc-0ecdded28594" providerId="ADAL" clId="{9817B8E0-72E5-4A80-920F-95B62F123057}" dt="2021-02-05T12:51:17.914" v="2760" actId="26606"/>
          <ac:spMkLst>
            <pc:docMk/>
            <pc:sldMk cId="1435419321" sldId="720"/>
            <ac:spMk id="69" creationId="{38F9F37E-D3CF-4F3D-96C2-25307819DF2D}"/>
          </ac:spMkLst>
        </pc:spChg>
        <pc:spChg chg="add">
          <ac:chgData name="christophe CHUECOS-FONT" userId="7e57acaa-4bc6-4644-8edc-0ecdded28594" providerId="ADAL" clId="{9817B8E0-72E5-4A80-920F-95B62F123057}" dt="2021-02-05T12:51:17.914" v="2760" actId="26606"/>
          <ac:spMkLst>
            <pc:docMk/>
            <pc:sldMk cId="1435419321" sldId="720"/>
            <ac:spMk id="71" creationId="{C5FFF17D-767C-40E7-8C89-962F1F54BCD0}"/>
          </ac:spMkLst>
        </pc:spChg>
        <pc:spChg chg="add">
          <ac:chgData name="christophe CHUECOS-FONT" userId="7e57acaa-4bc6-4644-8edc-0ecdded28594" providerId="ADAL" clId="{9817B8E0-72E5-4A80-920F-95B62F123057}" dt="2021-02-05T12:51:17.914" v="2760" actId="26606"/>
          <ac:spMkLst>
            <pc:docMk/>
            <pc:sldMk cId="1435419321" sldId="720"/>
            <ac:spMk id="73" creationId="{E69F39E1-619D-4D9E-8823-8BD8CC3206B6}"/>
          </ac:spMkLst>
        </pc:spChg>
        <pc:spChg chg="add">
          <ac:chgData name="christophe CHUECOS-FONT" userId="7e57acaa-4bc6-4644-8edc-0ecdded28594" providerId="ADAL" clId="{9817B8E0-72E5-4A80-920F-95B62F123057}" dt="2021-02-05T12:51:17.914" v="2760" actId="26606"/>
          <ac:spMkLst>
            <pc:docMk/>
            <pc:sldMk cId="1435419321" sldId="720"/>
            <ac:spMk id="75" creationId="{C8C53F47-DF50-454F-A5A6-6B969748D972}"/>
          </ac:spMkLst>
        </pc:spChg>
        <pc:picChg chg="del">
          <ac:chgData name="christophe CHUECOS-FONT" userId="7e57acaa-4bc6-4644-8edc-0ecdded28594" providerId="ADAL" clId="{9817B8E0-72E5-4A80-920F-95B62F123057}" dt="2021-02-05T12:51:17.914" v="2760" actId="26606"/>
          <ac:picMkLst>
            <pc:docMk/>
            <pc:sldMk cId="1435419321" sldId="720"/>
            <ac:picMk id="48" creationId="{1F5620B8-A2D8-4568-B566-F0453A0D9167}"/>
          </ac:picMkLst>
        </pc:picChg>
        <pc:picChg chg="del">
          <ac:chgData name="christophe CHUECOS-FONT" userId="7e57acaa-4bc6-4644-8edc-0ecdded28594" providerId="ADAL" clId="{9817B8E0-72E5-4A80-920F-95B62F123057}" dt="2021-02-05T12:51:17.914" v="2760" actId="26606"/>
          <ac:picMkLst>
            <pc:docMk/>
            <pc:sldMk cId="1435419321" sldId="720"/>
            <ac:picMk id="60" creationId="{419FDB25-3050-4009-9806-3000DDD1C083}"/>
          </ac:picMkLst>
        </pc:picChg>
        <pc:picChg chg="add">
          <ac:chgData name="christophe CHUECOS-FONT" userId="7e57acaa-4bc6-4644-8edc-0ecdded28594" providerId="ADAL" clId="{9817B8E0-72E5-4A80-920F-95B62F123057}" dt="2021-02-05T12:51:17.914" v="2760" actId="26606"/>
          <ac:picMkLst>
            <pc:docMk/>
            <pc:sldMk cId="1435419321" sldId="720"/>
            <ac:picMk id="77" creationId="{6A26901A-BC62-4A3A-A07A-65E1F3DDDEC6}"/>
          </ac:picMkLst>
        </pc:picChg>
        <pc:cxnChg chg="del">
          <ac:chgData name="christophe CHUECOS-FONT" userId="7e57acaa-4bc6-4644-8edc-0ecdded28594" providerId="ADAL" clId="{9817B8E0-72E5-4A80-920F-95B62F123057}" dt="2021-02-05T12:51:17.914" v="2760" actId="26606"/>
          <ac:cxnSpMkLst>
            <pc:docMk/>
            <pc:sldMk cId="1435419321" sldId="720"/>
            <ac:cxnSpMk id="50" creationId="{1C7D2BA4-4B7A-4596-8BCC-5CF715423894}"/>
          </ac:cxnSpMkLst>
        </pc:cxnChg>
        <pc:cxnChg chg="del">
          <ac:chgData name="christophe CHUECOS-FONT" userId="7e57acaa-4bc6-4644-8edc-0ecdded28594" providerId="ADAL" clId="{9817B8E0-72E5-4A80-920F-95B62F123057}" dt="2021-02-05T12:51:17.914" v="2760" actId="26606"/>
          <ac:cxnSpMkLst>
            <pc:docMk/>
            <pc:sldMk cId="1435419321" sldId="720"/>
            <ac:cxnSpMk id="52" creationId="{4977F1E1-2B6F-4BB6-899F-67D8764D83C5}"/>
          </ac:cxnSpMkLst>
        </pc:cxnChg>
        <pc:cxnChg chg="del">
          <ac:chgData name="christophe CHUECOS-FONT" userId="7e57acaa-4bc6-4644-8edc-0ecdded28594" providerId="ADAL" clId="{9817B8E0-72E5-4A80-920F-95B62F123057}" dt="2021-02-05T12:51:17.914" v="2760" actId="26606"/>
          <ac:cxnSpMkLst>
            <pc:docMk/>
            <pc:sldMk cId="1435419321" sldId="720"/>
            <ac:cxnSpMk id="58" creationId="{B61C4D9F-F4AF-4ED2-9310-56EB2E19C084}"/>
          </ac:cxnSpMkLst>
        </pc:cxnChg>
        <pc:cxnChg chg="del">
          <ac:chgData name="christophe CHUECOS-FONT" userId="7e57acaa-4bc6-4644-8edc-0ecdded28594" providerId="ADAL" clId="{9817B8E0-72E5-4A80-920F-95B62F123057}" dt="2021-02-05T12:51:17.914" v="2760" actId="26606"/>
          <ac:cxnSpMkLst>
            <pc:docMk/>
            <pc:sldMk cId="1435419321" sldId="720"/>
            <ac:cxnSpMk id="62" creationId="{8063EF0F-7BC0-4CFB-AB98-20A8DD91D70F}"/>
          </ac:cxnSpMkLst>
        </pc:cxnChg>
      </pc:sldChg>
      <pc:sldChg chg="del">
        <pc:chgData name="christophe CHUECOS-FONT" userId="7e57acaa-4bc6-4644-8edc-0ecdded28594" providerId="ADAL" clId="{9817B8E0-72E5-4A80-920F-95B62F123057}" dt="2021-02-05T12:16:43.357" v="1892" actId="47"/>
        <pc:sldMkLst>
          <pc:docMk/>
          <pc:sldMk cId="1825095438" sldId="721"/>
        </pc:sldMkLst>
      </pc:sldChg>
      <pc:sldChg chg="del">
        <pc:chgData name="christophe CHUECOS-FONT" userId="7e57acaa-4bc6-4644-8edc-0ecdded28594" providerId="ADAL" clId="{9817B8E0-72E5-4A80-920F-95B62F123057}" dt="2021-02-05T12:16:45.202" v="1893" actId="47"/>
        <pc:sldMkLst>
          <pc:docMk/>
          <pc:sldMk cId="3767349465" sldId="722"/>
        </pc:sldMkLst>
      </pc:sldChg>
      <pc:sldChg chg="del">
        <pc:chgData name="christophe CHUECOS-FONT" userId="7e57acaa-4bc6-4644-8edc-0ecdded28594" providerId="ADAL" clId="{9817B8E0-72E5-4A80-920F-95B62F123057}" dt="2021-02-05T13:10:46.443" v="3068" actId="47"/>
        <pc:sldMkLst>
          <pc:docMk/>
          <pc:sldMk cId="1019904241" sldId="723"/>
        </pc:sldMkLst>
      </pc:sldChg>
      <pc:sldChg chg="del">
        <pc:chgData name="christophe CHUECOS-FONT" userId="7e57acaa-4bc6-4644-8edc-0ecdded28594" providerId="ADAL" clId="{9817B8E0-72E5-4A80-920F-95B62F123057}" dt="2021-02-05T13:10:48.577" v="3069" actId="47"/>
        <pc:sldMkLst>
          <pc:docMk/>
          <pc:sldMk cId="3859586812" sldId="724"/>
        </pc:sldMkLst>
      </pc:sldChg>
      <pc:sldChg chg="del">
        <pc:chgData name="christophe CHUECOS-FONT" userId="7e57acaa-4bc6-4644-8edc-0ecdded28594" providerId="ADAL" clId="{9817B8E0-72E5-4A80-920F-95B62F123057}" dt="2021-02-05T13:10:50.167" v="3070" actId="47"/>
        <pc:sldMkLst>
          <pc:docMk/>
          <pc:sldMk cId="4064782458" sldId="740"/>
        </pc:sldMkLst>
      </pc:sldChg>
      <pc:sldChg chg="addSp delSp modSp mod ord">
        <pc:chgData name="christophe CHUECOS-FONT" userId="7e57acaa-4bc6-4644-8edc-0ecdded28594" providerId="ADAL" clId="{9817B8E0-72E5-4A80-920F-95B62F123057}" dt="2021-02-05T12:35:06.224" v="2306" actId="1076"/>
        <pc:sldMkLst>
          <pc:docMk/>
          <pc:sldMk cId="46848278" sldId="741"/>
        </pc:sldMkLst>
        <pc:spChg chg="del mod">
          <ac:chgData name="christophe CHUECOS-FONT" userId="7e57acaa-4bc6-4644-8edc-0ecdded28594" providerId="ADAL" clId="{9817B8E0-72E5-4A80-920F-95B62F123057}" dt="2021-02-05T12:34:55.051" v="2302" actId="21"/>
          <ac:spMkLst>
            <pc:docMk/>
            <pc:sldMk cId="46848278" sldId="741"/>
            <ac:spMk id="2" creationId="{00000000-0000-0000-0000-000000000000}"/>
          </ac:spMkLst>
        </pc:spChg>
        <pc:spChg chg="add del mod">
          <ac:chgData name="christophe CHUECOS-FONT" userId="7e57acaa-4bc6-4644-8edc-0ecdded28594" providerId="ADAL" clId="{9817B8E0-72E5-4A80-920F-95B62F123057}" dt="2021-02-05T12:33:13.403" v="2289" actId="21"/>
          <ac:spMkLst>
            <pc:docMk/>
            <pc:sldMk cId="46848278" sldId="741"/>
            <ac:spMk id="5" creationId="{5B6557BA-B6BE-4F08-B30D-BF9BCECBFC18}"/>
          </ac:spMkLst>
        </pc:spChg>
        <pc:spChg chg="mod">
          <ac:chgData name="christophe CHUECOS-FONT" userId="7e57acaa-4bc6-4644-8edc-0ecdded28594" providerId="ADAL" clId="{9817B8E0-72E5-4A80-920F-95B62F123057}" dt="2021-02-05T12:32:22.989" v="2284" actId="6549"/>
          <ac:spMkLst>
            <pc:docMk/>
            <pc:sldMk cId="46848278" sldId="741"/>
            <ac:spMk id="10" creationId="{2104DD9E-7F53-465D-8561-41BB61362ACA}"/>
          </ac:spMkLst>
        </pc:spChg>
        <pc:picChg chg="add del mod">
          <ac:chgData name="christophe CHUECOS-FONT" userId="7e57acaa-4bc6-4644-8edc-0ecdded28594" providerId="ADAL" clId="{9817B8E0-72E5-4A80-920F-95B62F123057}" dt="2021-02-05T12:33:13.403" v="2289" actId="21"/>
          <ac:picMkLst>
            <pc:docMk/>
            <pc:sldMk cId="46848278" sldId="741"/>
            <ac:picMk id="4" creationId="{A3E7A1CB-14EA-4CB4-8DE3-495A66246D5D}"/>
          </ac:picMkLst>
        </pc:picChg>
        <pc:picChg chg="add del mod">
          <ac:chgData name="christophe CHUECOS-FONT" userId="7e57acaa-4bc6-4644-8edc-0ecdded28594" providerId="ADAL" clId="{9817B8E0-72E5-4A80-920F-95B62F123057}" dt="2021-02-05T12:33:38.517" v="2297"/>
          <ac:picMkLst>
            <pc:docMk/>
            <pc:sldMk cId="46848278" sldId="741"/>
            <ac:picMk id="6" creationId="{AF672D10-65AB-44DE-875E-E0239EAB5D47}"/>
          </ac:picMkLst>
        </pc:picChg>
        <pc:picChg chg="add mod">
          <ac:chgData name="christophe CHUECOS-FONT" userId="7e57acaa-4bc6-4644-8edc-0ecdded28594" providerId="ADAL" clId="{9817B8E0-72E5-4A80-920F-95B62F123057}" dt="2021-02-05T12:35:06.224" v="2306" actId="1076"/>
          <ac:picMkLst>
            <pc:docMk/>
            <pc:sldMk cId="46848278" sldId="741"/>
            <ac:picMk id="3074" creationId="{5773E1FE-EFF0-45D9-823D-1B322AAF21E7}"/>
          </ac:picMkLst>
        </pc:picChg>
      </pc:sldChg>
      <pc:sldChg chg="modSp add del mod">
        <pc:chgData name="christophe CHUECOS-FONT" userId="7e57acaa-4bc6-4644-8edc-0ecdded28594" providerId="ADAL" clId="{9817B8E0-72E5-4A80-920F-95B62F123057}" dt="2021-02-05T12:37:06.970" v="2310" actId="47"/>
        <pc:sldMkLst>
          <pc:docMk/>
          <pc:sldMk cId="2973601308" sldId="742"/>
        </pc:sldMkLst>
        <pc:spChg chg="mod">
          <ac:chgData name="christophe CHUECOS-FONT" userId="7e57acaa-4bc6-4644-8edc-0ecdded28594" providerId="ADAL" clId="{9817B8E0-72E5-4A80-920F-95B62F123057}" dt="2021-02-05T12:16:35.900" v="1891" actId="6549"/>
          <ac:spMkLst>
            <pc:docMk/>
            <pc:sldMk cId="2973601308" sldId="742"/>
            <ac:spMk id="2" creationId="{02517F6E-26E9-44E8-815E-774552D95FD0}"/>
          </ac:spMkLst>
        </pc:spChg>
      </pc:sldChg>
      <pc:sldChg chg="del">
        <pc:chgData name="christophe CHUECOS-FONT" userId="7e57acaa-4bc6-4644-8edc-0ecdded28594" providerId="ADAL" clId="{9817B8E0-72E5-4A80-920F-95B62F123057}" dt="2021-02-05T13:10:55.352" v="3073" actId="47"/>
        <pc:sldMkLst>
          <pc:docMk/>
          <pc:sldMk cId="4265384868" sldId="744"/>
        </pc:sldMkLst>
      </pc:sldChg>
      <pc:sldChg chg="del">
        <pc:chgData name="christophe CHUECOS-FONT" userId="7e57acaa-4bc6-4644-8edc-0ecdded28594" providerId="ADAL" clId="{9817B8E0-72E5-4A80-920F-95B62F123057}" dt="2021-02-05T13:10:52.458" v="3071" actId="47"/>
        <pc:sldMkLst>
          <pc:docMk/>
          <pc:sldMk cId="2659999973" sldId="745"/>
        </pc:sldMkLst>
      </pc:sldChg>
      <pc:sldChg chg="addSp delSp modSp mod setBg">
        <pc:chgData name="christophe CHUECOS-FONT" userId="7e57acaa-4bc6-4644-8edc-0ecdded28594" providerId="ADAL" clId="{9817B8E0-72E5-4A80-920F-95B62F123057}" dt="2021-02-05T13:29:54.453" v="3222" actId="21"/>
        <pc:sldMkLst>
          <pc:docMk/>
          <pc:sldMk cId="862046135" sldId="746"/>
        </pc:sldMkLst>
        <pc:spChg chg="mod">
          <ac:chgData name="christophe CHUECOS-FONT" userId="7e57acaa-4bc6-4644-8edc-0ecdded28594" providerId="ADAL" clId="{9817B8E0-72E5-4A80-920F-95B62F123057}" dt="2021-02-05T13:29:03.569" v="3220" actId="26606"/>
          <ac:spMkLst>
            <pc:docMk/>
            <pc:sldMk cId="862046135" sldId="746"/>
            <ac:spMk id="2" creationId="{02517F6E-26E9-44E8-815E-774552D95FD0}"/>
          </ac:spMkLst>
        </pc:spChg>
        <pc:spChg chg="add del mod">
          <ac:chgData name="christophe CHUECOS-FONT" userId="7e57acaa-4bc6-4644-8edc-0ecdded28594" providerId="ADAL" clId="{9817B8E0-72E5-4A80-920F-95B62F123057}" dt="2021-02-05T13:29:54.453" v="3222" actId="21"/>
          <ac:spMkLst>
            <pc:docMk/>
            <pc:sldMk cId="862046135" sldId="746"/>
            <ac:spMk id="3" creationId="{7F1D0C51-9F0A-4F5A-B65C-5463940FD37F}"/>
          </ac:spMkLst>
        </pc:spChg>
        <pc:spChg chg="del">
          <ac:chgData name="christophe CHUECOS-FONT" userId="7e57acaa-4bc6-4644-8edc-0ecdded28594" providerId="ADAL" clId="{9817B8E0-72E5-4A80-920F-95B62F123057}" dt="2021-02-05T13:29:03.569" v="3220" actId="26606"/>
          <ac:spMkLst>
            <pc:docMk/>
            <pc:sldMk cId="862046135" sldId="746"/>
            <ac:spMk id="77" creationId="{E91DC736-0EF8-4F87-9146-EBF1D2EE4D3D}"/>
          </ac:spMkLst>
        </pc:spChg>
        <pc:spChg chg="del">
          <ac:chgData name="christophe CHUECOS-FONT" userId="7e57acaa-4bc6-4644-8edc-0ecdded28594" providerId="ADAL" clId="{9817B8E0-72E5-4A80-920F-95B62F123057}" dt="2021-02-05T13:29:03.569" v="3220" actId="26606"/>
          <ac:spMkLst>
            <pc:docMk/>
            <pc:sldMk cId="862046135" sldId="746"/>
            <ac:spMk id="79" creationId="{097CD68E-23E3-4007-8847-CD0944C4F7BE}"/>
          </ac:spMkLst>
        </pc:spChg>
        <pc:spChg chg="del">
          <ac:chgData name="christophe CHUECOS-FONT" userId="7e57acaa-4bc6-4644-8edc-0ecdded28594" providerId="ADAL" clId="{9817B8E0-72E5-4A80-920F-95B62F123057}" dt="2021-02-05T13:29:03.569" v="3220" actId="26606"/>
          <ac:spMkLst>
            <pc:docMk/>
            <pc:sldMk cId="862046135" sldId="746"/>
            <ac:spMk id="81" creationId="{AF2F604E-43BE-4DC3-B983-E071523364F8}"/>
          </ac:spMkLst>
        </pc:spChg>
        <pc:spChg chg="del">
          <ac:chgData name="christophe CHUECOS-FONT" userId="7e57acaa-4bc6-4644-8edc-0ecdded28594" providerId="ADAL" clId="{9817B8E0-72E5-4A80-920F-95B62F123057}" dt="2021-02-05T13:29:03.569" v="3220" actId="26606"/>
          <ac:spMkLst>
            <pc:docMk/>
            <pc:sldMk cId="862046135" sldId="746"/>
            <ac:spMk id="83" creationId="{08C9B587-E65E-4B52-B37C-ABEBB6E87928}"/>
          </ac:spMkLst>
        </pc:spChg>
        <pc:spChg chg="add">
          <ac:chgData name="christophe CHUECOS-FONT" userId="7e57acaa-4bc6-4644-8edc-0ecdded28594" providerId="ADAL" clId="{9817B8E0-72E5-4A80-920F-95B62F123057}" dt="2021-02-05T13:29:03.569" v="3220" actId="26606"/>
          <ac:spMkLst>
            <pc:docMk/>
            <pc:sldMk cId="862046135" sldId="746"/>
            <ac:spMk id="88" creationId="{16C5FA50-8D52-4617-AF91-5C7B1C8352F1}"/>
          </ac:spMkLst>
        </pc:spChg>
        <pc:spChg chg="add">
          <ac:chgData name="christophe CHUECOS-FONT" userId="7e57acaa-4bc6-4644-8edc-0ecdded28594" providerId="ADAL" clId="{9817B8E0-72E5-4A80-920F-95B62F123057}" dt="2021-02-05T13:29:03.569" v="3220" actId="26606"/>
          <ac:spMkLst>
            <pc:docMk/>
            <pc:sldMk cId="862046135" sldId="746"/>
            <ac:spMk id="90" creationId="{E223798C-12AD-4B0C-A50C-D676347D67CF}"/>
          </ac:spMkLst>
        </pc:spChg>
        <pc:picChg chg="mod ord">
          <ac:chgData name="christophe CHUECOS-FONT" userId="7e57acaa-4bc6-4644-8edc-0ecdded28594" providerId="ADAL" clId="{9817B8E0-72E5-4A80-920F-95B62F123057}" dt="2021-02-05T13:29:33.212" v="3221" actId="14826"/>
          <ac:picMkLst>
            <pc:docMk/>
            <pc:sldMk cId="862046135" sldId="746"/>
            <ac:picMk id="36" creationId="{FC9EF324-339C-4E46-9508-BF0C86AAC793}"/>
          </ac:picMkLst>
        </pc:picChg>
      </pc:sldChg>
      <pc:sldChg chg="del">
        <pc:chgData name="christophe CHUECOS-FONT" userId="7e57acaa-4bc6-4644-8edc-0ecdded28594" providerId="ADAL" clId="{9817B8E0-72E5-4A80-920F-95B62F123057}" dt="2021-02-05T13:10:54.105" v="3072" actId="47"/>
        <pc:sldMkLst>
          <pc:docMk/>
          <pc:sldMk cId="1888965905" sldId="747"/>
        </pc:sldMkLst>
      </pc:sldChg>
      <pc:sldChg chg="modSp add mod ord">
        <pc:chgData name="christophe CHUECOS-FONT" userId="7e57acaa-4bc6-4644-8edc-0ecdded28594" providerId="ADAL" clId="{9817B8E0-72E5-4A80-920F-95B62F123057}" dt="2021-02-05T12:31:01.980" v="2237" actId="20577"/>
        <pc:sldMkLst>
          <pc:docMk/>
          <pc:sldMk cId="207037776" sldId="748"/>
        </pc:sldMkLst>
        <pc:graphicFrameChg chg="mod modGraphic">
          <ac:chgData name="christophe CHUECOS-FONT" userId="7e57acaa-4bc6-4644-8edc-0ecdded28594" providerId="ADAL" clId="{9817B8E0-72E5-4A80-920F-95B62F123057}" dt="2021-02-05T12:31:01.980" v="2237" actId="20577"/>
          <ac:graphicFrameMkLst>
            <pc:docMk/>
            <pc:sldMk cId="207037776" sldId="748"/>
            <ac:graphicFrameMk id="6" creationId="{4A6E514C-D3C4-4B29-BB5C-DB98C7CA5742}"/>
          </ac:graphicFrameMkLst>
        </pc:graphicFrameChg>
      </pc:sldChg>
      <pc:sldChg chg="addSp delSp modSp add del mod ord">
        <pc:chgData name="christophe CHUECOS-FONT" userId="7e57acaa-4bc6-4644-8edc-0ecdded28594" providerId="ADAL" clId="{9817B8E0-72E5-4A80-920F-95B62F123057}" dt="2021-02-05T11:48:37.765" v="1181" actId="47"/>
        <pc:sldMkLst>
          <pc:docMk/>
          <pc:sldMk cId="3929803507" sldId="748"/>
        </pc:sldMkLst>
        <pc:spChg chg="del mod">
          <ac:chgData name="christophe CHUECOS-FONT" userId="7e57acaa-4bc6-4644-8edc-0ecdded28594" providerId="ADAL" clId="{9817B8E0-72E5-4A80-920F-95B62F123057}" dt="2021-02-05T11:42:53.645" v="969" actId="21"/>
          <ac:spMkLst>
            <pc:docMk/>
            <pc:sldMk cId="3929803507" sldId="748"/>
            <ac:spMk id="2" creationId="{02517F6E-26E9-44E8-815E-774552D95FD0}"/>
          </ac:spMkLst>
        </pc:spChg>
        <pc:spChg chg="mod">
          <ac:chgData name="christophe CHUECOS-FONT" userId="7e57acaa-4bc6-4644-8edc-0ecdded28594" providerId="ADAL" clId="{9817B8E0-72E5-4A80-920F-95B62F123057}" dt="2021-02-05T11:42:31.987" v="957" actId="1076"/>
          <ac:spMkLst>
            <pc:docMk/>
            <pc:sldMk cId="3929803507" sldId="748"/>
            <ac:spMk id="3" creationId="{79900381-058A-49D1-91B1-63D7DD95F910}"/>
          </ac:spMkLst>
        </pc:spChg>
        <pc:spChg chg="add mod">
          <ac:chgData name="christophe CHUECOS-FONT" userId="7e57acaa-4bc6-4644-8edc-0ecdded28594" providerId="ADAL" clId="{9817B8E0-72E5-4A80-920F-95B62F123057}" dt="2021-02-05T11:42:53.645" v="969" actId="21"/>
          <ac:spMkLst>
            <pc:docMk/>
            <pc:sldMk cId="3929803507" sldId="748"/>
            <ac:spMk id="6" creationId="{EE6428D0-F810-4A90-96AA-3E6D994E530E}"/>
          </ac:spMkLst>
        </pc:spChg>
      </pc:sldChg>
      <pc:sldChg chg="addSp delSp modSp add mod">
        <pc:chgData name="christophe CHUECOS-FONT" userId="7e57acaa-4bc6-4644-8edc-0ecdded28594" providerId="ADAL" clId="{9817B8E0-72E5-4A80-920F-95B62F123057}" dt="2021-02-05T12:38:34.546" v="2378" actId="313"/>
        <pc:sldMkLst>
          <pc:docMk/>
          <pc:sldMk cId="4173125488" sldId="749"/>
        </pc:sldMkLst>
        <pc:spChg chg="del mod">
          <ac:chgData name="christophe CHUECOS-FONT" userId="7e57acaa-4bc6-4644-8edc-0ecdded28594" providerId="ADAL" clId="{9817B8E0-72E5-4A80-920F-95B62F123057}" dt="2021-02-05T12:13:33.137" v="1833" actId="21"/>
          <ac:spMkLst>
            <pc:docMk/>
            <pc:sldMk cId="4173125488" sldId="749"/>
            <ac:spMk id="2" creationId="{02517F6E-26E9-44E8-815E-774552D95FD0}"/>
          </ac:spMkLst>
        </pc:spChg>
        <pc:spChg chg="add del mod">
          <ac:chgData name="christophe CHUECOS-FONT" userId="7e57acaa-4bc6-4644-8edc-0ecdded28594" providerId="ADAL" clId="{9817B8E0-72E5-4A80-920F-95B62F123057}" dt="2021-02-05T12:15:11.445" v="1870" actId="478"/>
          <ac:spMkLst>
            <pc:docMk/>
            <pc:sldMk cId="4173125488" sldId="749"/>
            <ac:spMk id="6" creationId="{3E8E1C35-D244-460D-B767-E880128C46A4}"/>
          </ac:spMkLst>
        </pc:spChg>
        <pc:spChg chg="add del mod">
          <ac:chgData name="christophe CHUECOS-FONT" userId="7e57acaa-4bc6-4644-8edc-0ecdded28594" providerId="ADAL" clId="{9817B8E0-72E5-4A80-920F-95B62F123057}" dt="2021-02-05T12:15:28.538" v="1879" actId="21"/>
          <ac:spMkLst>
            <pc:docMk/>
            <pc:sldMk cId="4173125488" sldId="749"/>
            <ac:spMk id="13" creationId="{17EB41A5-083A-4B89-BC8E-9FC8320DB0C0}"/>
          </ac:spMkLst>
        </pc:spChg>
        <pc:graphicFrameChg chg="add mod modGraphic">
          <ac:chgData name="christophe CHUECOS-FONT" userId="7e57acaa-4bc6-4644-8edc-0ecdded28594" providerId="ADAL" clId="{9817B8E0-72E5-4A80-920F-95B62F123057}" dt="2021-02-05T12:38:34.546" v="2378" actId="313"/>
          <ac:graphicFrameMkLst>
            <pc:docMk/>
            <pc:sldMk cId="4173125488" sldId="749"/>
            <ac:graphicFrameMk id="11" creationId="{BE7017E8-72FF-4D63-A4AE-8C9FCD2F6E61}"/>
          </ac:graphicFrameMkLst>
        </pc:graphicFrameChg>
      </pc:sldChg>
      <pc:sldChg chg="addSp delSp modSp add mod ord">
        <pc:chgData name="christophe CHUECOS-FONT" userId="7e57acaa-4bc6-4644-8edc-0ecdded28594" providerId="ADAL" clId="{9817B8E0-72E5-4A80-920F-95B62F123057}" dt="2021-02-05T12:25:23.337" v="2145" actId="2711"/>
        <pc:sldMkLst>
          <pc:docMk/>
          <pc:sldMk cId="1331932978" sldId="750"/>
        </pc:sldMkLst>
        <pc:spChg chg="del">
          <ac:chgData name="christophe CHUECOS-FONT" userId="7e57acaa-4bc6-4644-8edc-0ecdded28594" providerId="ADAL" clId="{9817B8E0-72E5-4A80-920F-95B62F123057}" dt="2021-02-05T12:03:37.767" v="1512" actId="21"/>
          <ac:spMkLst>
            <pc:docMk/>
            <pc:sldMk cId="1331932978" sldId="750"/>
            <ac:spMk id="2" creationId="{02517F6E-26E9-44E8-815E-774552D95FD0}"/>
          </ac:spMkLst>
        </pc:spChg>
        <pc:spChg chg="add del mod">
          <ac:chgData name="christophe CHUECOS-FONT" userId="7e57acaa-4bc6-4644-8edc-0ecdded28594" providerId="ADAL" clId="{9817B8E0-72E5-4A80-920F-95B62F123057}" dt="2021-02-05T12:13:01.386" v="1820" actId="21"/>
          <ac:spMkLst>
            <pc:docMk/>
            <pc:sldMk cId="1331932978" sldId="750"/>
            <ac:spMk id="6" creationId="{889463DC-170E-4169-8EF2-A0118E045062}"/>
          </ac:spMkLst>
        </pc:spChg>
        <pc:graphicFrameChg chg="add mod modGraphic">
          <ac:chgData name="christophe CHUECOS-FONT" userId="7e57acaa-4bc6-4644-8edc-0ecdded28594" providerId="ADAL" clId="{9817B8E0-72E5-4A80-920F-95B62F123057}" dt="2021-02-05T12:25:23.337" v="2145" actId="2711"/>
          <ac:graphicFrameMkLst>
            <pc:docMk/>
            <pc:sldMk cId="1331932978" sldId="750"/>
            <ac:graphicFrameMk id="11" creationId="{E94DFFC9-EC83-475B-9CC4-E7F2C5E65D08}"/>
          </ac:graphicFrameMkLst>
        </pc:graphicFrameChg>
      </pc:sldChg>
      <pc:sldChg chg="addSp delSp modSp add mod setBg">
        <pc:chgData name="christophe CHUECOS-FONT" userId="7e57acaa-4bc6-4644-8edc-0ecdded28594" providerId="ADAL" clId="{9817B8E0-72E5-4A80-920F-95B62F123057}" dt="2021-02-05T12:26:47.584" v="2165" actId="255"/>
        <pc:sldMkLst>
          <pc:docMk/>
          <pc:sldMk cId="199886149" sldId="751"/>
        </pc:sldMkLst>
        <pc:spChg chg="mod">
          <ac:chgData name="christophe CHUECOS-FONT" userId="7e57acaa-4bc6-4644-8edc-0ecdded28594" providerId="ADAL" clId="{9817B8E0-72E5-4A80-920F-95B62F123057}" dt="2021-02-05T12:17:24.560" v="1926" actId="6549"/>
          <ac:spMkLst>
            <pc:docMk/>
            <pc:sldMk cId="199886149" sldId="751"/>
            <ac:spMk id="2" creationId="{02517F6E-26E9-44E8-815E-774552D95FD0}"/>
          </ac:spMkLst>
        </pc:spChg>
        <pc:spChg chg="add del mod">
          <ac:chgData name="christophe CHUECOS-FONT" userId="7e57acaa-4bc6-4644-8edc-0ecdded28594" providerId="ADAL" clId="{9817B8E0-72E5-4A80-920F-95B62F123057}" dt="2021-02-05T12:18:12.199" v="1930" actId="21"/>
          <ac:spMkLst>
            <pc:docMk/>
            <pc:sldMk cId="199886149" sldId="751"/>
            <ac:spMk id="3" creationId="{6765F43B-1830-4B94-A641-F503578399A0}"/>
          </ac:spMkLst>
        </pc:spChg>
        <pc:spChg chg="add mod">
          <ac:chgData name="christophe CHUECOS-FONT" userId="7e57acaa-4bc6-4644-8edc-0ecdded28594" providerId="ADAL" clId="{9817B8E0-72E5-4A80-920F-95B62F123057}" dt="2021-02-05T12:26:47.584" v="2165" actId="255"/>
          <ac:spMkLst>
            <pc:docMk/>
            <pc:sldMk cId="199886149" sldId="751"/>
            <ac:spMk id="5" creationId="{DFEA2082-E7DE-4453-8158-54F380B94285}"/>
          </ac:spMkLst>
        </pc:spChg>
        <pc:spChg chg="del">
          <ac:chgData name="christophe CHUECOS-FONT" userId="7e57acaa-4bc6-4644-8edc-0ecdded28594" providerId="ADAL" clId="{9817B8E0-72E5-4A80-920F-95B62F123057}" dt="2021-02-05T12:17:17.414" v="1911" actId="26606"/>
          <ac:spMkLst>
            <pc:docMk/>
            <pc:sldMk cId="199886149" sldId="751"/>
            <ac:spMk id="51" creationId="{A3BAF07C-C39E-42EB-BB22-8D46691D9735}"/>
          </ac:spMkLst>
        </pc:spChg>
        <pc:spChg chg="add">
          <ac:chgData name="christophe CHUECOS-FONT" userId="7e57acaa-4bc6-4644-8edc-0ecdded28594" providerId="ADAL" clId="{9817B8E0-72E5-4A80-920F-95B62F123057}" dt="2021-02-05T12:17:17.414" v="1911" actId="26606"/>
          <ac:spMkLst>
            <pc:docMk/>
            <pc:sldMk cId="199886149" sldId="751"/>
            <ac:spMk id="77" creationId="{8537B233-9CDD-4A90-AABB-A8963DEE4FBC}"/>
          </ac:spMkLst>
        </pc:spChg>
        <pc:grpChg chg="del">
          <ac:chgData name="christophe CHUECOS-FONT" userId="7e57acaa-4bc6-4644-8edc-0ecdded28594" providerId="ADAL" clId="{9817B8E0-72E5-4A80-920F-95B62F123057}" dt="2021-02-05T12:17:17.414" v="1911" actId="26606"/>
          <ac:grpSpMkLst>
            <pc:docMk/>
            <pc:sldMk cId="199886149" sldId="751"/>
            <ac:grpSpMk id="53" creationId="{D8E9CF54-0466-4261-9E62-0249E60E1886}"/>
          </ac:grpSpMkLst>
        </pc:grpChg>
        <pc:picChg chg="mod">
          <ac:chgData name="christophe CHUECOS-FONT" userId="7e57acaa-4bc6-4644-8edc-0ecdded28594" providerId="ADAL" clId="{9817B8E0-72E5-4A80-920F-95B62F123057}" dt="2021-02-05T12:18:05.674" v="1928" actId="14100"/>
          <ac:picMkLst>
            <pc:docMk/>
            <pc:sldMk cId="199886149" sldId="751"/>
            <ac:picMk id="36" creationId="{FC9EF324-339C-4E46-9508-BF0C86AAC793}"/>
          </ac:picMkLst>
        </pc:picChg>
        <pc:cxnChg chg="add">
          <ac:chgData name="christophe CHUECOS-FONT" userId="7e57acaa-4bc6-4644-8edc-0ecdded28594" providerId="ADAL" clId="{9817B8E0-72E5-4A80-920F-95B62F123057}" dt="2021-02-05T12:17:17.414" v="1911" actId="26606"/>
          <ac:cxnSpMkLst>
            <pc:docMk/>
            <pc:sldMk cId="199886149" sldId="751"/>
            <ac:cxnSpMk id="79" creationId="{040575EE-C594-4566-BC00-663004E52AB5}"/>
          </ac:cxnSpMkLst>
        </pc:cxnChg>
      </pc:sldChg>
      <pc:sldChg chg="modSp add mod ord">
        <pc:chgData name="christophe CHUECOS-FONT" userId="7e57acaa-4bc6-4644-8edc-0ecdded28594" providerId="ADAL" clId="{9817B8E0-72E5-4A80-920F-95B62F123057}" dt="2021-02-05T12:27:28.856" v="2174" actId="27636"/>
        <pc:sldMkLst>
          <pc:docMk/>
          <pc:sldMk cId="1555533496" sldId="752"/>
        </pc:sldMkLst>
        <pc:spChg chg="mod">
          <ac:chgData name="christophe CHUECOS-FONT" userId="7e57acaa-4bc6-4644-8edc-0ecdded28594" providerId="ADAL" clId="{9817B8E0-72E5-4A80-920F-95B62F123057}" dt="2021-02-05T12:27:28.856" v="2174" actId="27636"/>
          <ac:spMkLst>
            <pc:docMk/>
            <pc:sldMk cId="1555533496" sldId="752"/>
            <ac:spMk id="2" creationId="{02517F6E-26E9-44E8-815E-774552D95FD0}"/>
          </ac:spMkLst>
        </pc:spChg>
      </pc:sldChg>
      <pc:sldChg chg="addSp delSp modSp add mod ord">
        <pc:chgData name="christophe CHUECOS-FONT" userId="7e57acaa-4bc6-4644-8edc-0ecdded28594" providerId="ADAL" clId="{9817B8E0-72E5-4A80-920F-95B62F123057}" dt="2021-02-05T12:22:08.279" v="2120" actId="26606"/>
        <pc:sldMkLst>
          <pc:docMk/>
          <pc:sldMk cId="1388402899" sldId="753"/>
        </pc:sldMkLst>
        <pc:spChg chg="mod">
          <ac:chgData name="christophe CHUECOS-FONT" userId="7e57acaa-4bc6-4644-8edc-0ecdded28594" providerId="ADAL" clId="{9817B8E0-72E5-4A80-920F-95B62F123057}" dt="2021-02-05T12:21:04.326" v="2045" actId="20577"/>
          <ac:spMkLst>
            <pc:docMk/>
            <pc:sldMk cId="1388402899" sldId="753"/>
            <ac:spMk id="2" creationId="{00000000-0000-0000-0000-000000000000}"/>
          </ac:spMkLst>
        </pc:spChg>
        <pc:spChg chg="del mod">
          <ac:chgData name="christophe CHUECOS-FONT" userId="7e57acaa-4bc6-4644-8edc-0ecdded28594" providerId="ADAL" clId="{9817B8E0-72E5-4A80-920F-95B62F123057}" dt="2021-02-05T12:22:08.279" v="2120" actId="26606"/>
          <ac:spMkLst>
            <pc:docMk/>
            <pc:sldMk cId="1388402899" sldId="753"/>
            <ac:spMk id="10" creationId="{2104DD9E-7F53-465D-8561-41BB61362ACA}"/>
          </ac:spMkLst>
        </pc:spChg>
        <pc:graphicFrameChg chg="add">
          <ac:chgData name="christophe CHUECOS-FONT" userId="7e57acaa-4bc6-4644-8edc-0ecdded28594" providerId="ADAL" clId="{9817B8E0-72E5-4A80-920F-95B62F123057}" dt="2021-02-05T12:22:08.279" v="2120" actId="26606"/>
          <ac:graphicFrameMkLst>
            <pc:docMk/>
            <pc:sldMk cId="1388402899" sldId="753"/>
            <ac:graphicFrameMk id="18" creationId="{617CF2FB-A56B-4819-897B-4183F10C8A27}"/>
          </ac:graphicFrameMkLst>
        </pc:graphicFrameChg>
      </pc:sldChg>
      <pc:sldChg chg="addSp delSp modSp add mod">
        <pc:chgData name="christophe CHUECOS-FONT" userId="7e57acaa-4bc6-4644-8edc-0ecdded28594" providerId="ADAL" clId="{9817B8E0-72E5-4A80-920F-95B62F123057}" dt="2021-02-05T12:41:09.210" v="2390" actId="115"/>
        <pc:sldMkLst>
          <pc:docMk/>
          <pc:sldMk cId="1279459092" sldId="754"/>
        </pc:sldMkLst>
        <pc:spChg chg="add del">
          <ac:chgData name="christophe CHUECOS-FONT" userId="7e57acaa-4bc6-4644-8edc-0ecdded28594" providerId="ADAL" clId="{9817B8E0-72E5-4A80-920F-95B62F123057}" dt="2021-02-05T12:22:36.638" v="2122"/>
          <ac:spMkLst>
            <pc:docMk/>
            <pc:sldMk cId="1279459092" sldId="754"/>
            <ac:spMk id="3" creationId="{875CD4EC-9519-4ACA-8B3C-8CF29CF245A4}"/>
          </ac:spMkLst>
        </pc:spChg>
        <pc:spChg chg="add del">
          <ac:chgData name="christophe CHUECOS-FONT" userId="7e57acaa-4bc6-4644-8edc-0ecdded28594" providerId="ADAL" clId="{9817B8E0-72E5-4A80-920F-95B62F123057}" dt="2021-02-05T12:22:46.188" v="2124" actId="21"/>
          <ac:spMkLst>
            <pc:docMk/>
            <pc:sldMk cId="1279459092" sldId="754"/>
            <ac:spMk id="4" creationId="{74CCE3A4-CAA8-4A88-A7CD-E43D136F6965}"/>
          </ac:spMkLst>
        </pc:spChg>
        <pc:spChg chg="mod">
          <ac:chgData name="christophe CHUECOS-FONT" userId="7e57acaa-4bc6-4644-8edc-0ecdded28594" providerId="ADAL" clId="{9817B8E0-72E5-4A80-920F-95B62F123057}" dt="2021-02-05T12:41:09.210" v="2390" actId="115"/>
          <ac:spMkLst>
            <pc:docMk/>
            <pc:sldMk cId="1279459092" sldId="754"/>
            <ac:spMk id="10" creationId="{2104DD9E-7F53-465D-8561-41BB61362ACA}"/>
          </ac:spMkLst>
        </pc:spChg>
      </pc:sldChg>
      <pc:sldChg chg="add">
        <pc:chgData name="christophe CHUECOS-FONT" userId="7e57acaa-4bc6-4644-8edc-0ecdded28594" providerId="ADAL" clId="{9817B8E0-72E5-4A80-920F-95B62F123057}" dt="2021-02-05T12:26:05.311" v="2149" actId="2890"/>
        <pc:sldMkLst>
          <pc:docMk/>
          <pc:sldMk cId="3967480954" sldId="755"/>
        </pc:sldMkLst>
      </pc:sldChg>
      <pc:sldChg chg="add del">
        <pc:chgData name="christophe CHUECOS-FONT" userId="7e57acaa-4bc6-4644-8edc-0ecdded28594" providerId="ADAL" clId="{9817B8E0-72E5-4A80-920F-95B62F123057}" dt="2021-02-05T12:31:50.707" v="2243" actId="47"/>
        <pc:sldMkLst>
          <pc:docMk/>
          <pc:sldMk cId="4274374807" sldId="756"/>
        </pc:sldMkLst>
      </pc:sldChg>
      <pc:sldChg chg="modSp add ord">
        <pc:chgData name="christophe CHUECOS-FONT" userId="7e57acaa-4bc6-4644-8edc-0ecdded28594" providerId="ADAL" clId="{9817B8E0-72E5-4A80-920F-95B62F123057}" dt="2021-02-05T12:35:22.637" v="2307"/>
        <pc:sldMkLst>
          <pc:docMk/>
          <pc:sldMk cId="18592871" sldId="757"/>
        </pc:sldMkLst>
        <pc:graphicFrameChg chg="mod">
          <ac:chgData name="christophe CHUECOS-FONT" userId="7e57acaa-4bc6-4644-8edc-0ecdded28594" providerId="ADAL" clId="{9817B8E0-72E5-4A80-920F-95B62F123057}" dt="2021-02-05T12:35:22.637" v="2307"/>
          <ac:graphicFrameMkLst>
            <pc:docMk/>
            <pc:sldMk cId="18592871" sldId="757"/>
            <ac:graphicFrameMk id="6" creationId="{4A6E514C-D3C4-4B29-BB5C-DB98C7CA5742}"/>
          </ac:graphicFrameMkLst>
        </pc:graphicFrameChg>
      </pc:sldChg>
      <pc:sldChg chg="del">
        <pc:chgData name="christophe CHUECOS-FONT" userId="7e57acaa-4bc6-4644-8edc-0ecdded28594" providerId="ADAL" clId="{9817B8E0-72E5-4A80-920F-95B62F123057}" dt="2021-02-05T12:49:04.447" v="2727" actId="47"/>
        <pc:sldMkLst>
          <pc:docMk/>
          <pc:sldMk cId="411860545" sldId="758"/>
        </pc:sldMkLst>
      </pc:sldChg>
      <pc:sldChg chg="modSp add mod ord">
        <pc:chgData name="christophe CHUECOS-FONT" userId="7e57acaa-4bc6-4644-8edc-0ecdded28594" providerId="ADAL" clId="{9817B8E0-72E5-4A80-920F-95B62F123057}" dt="2021-02-05T12:49:53.037" v="2755" actId="122"/>
        <pc:sldMkLst>
          <pc:docMk/>
          <pc:sldMk cId="3419805560" sldId="759"/>
        </pc:sldMkLst>
        <pc:spChg chg="mod">
          <ac:chgData name="christophe CHUECOS-FONT" userId="7e57acaa-4bc6-4644-8edc-0ecdded28594" providerId="ADAL" clId="{9817B8E0-72E5-4A80-920F-95B62F123057}" dt="2021-02-05T12:49:53.037" v="2755" actId="122"/>
          <ac:spMkLst>
            <pc:docMk/>
            <pc:sldMk cId="3419805560" sldId="759"/>
            <ac:spMk id="2" creationId="{02517F6E-26E9-44E8-815E-774552D95FD0}"/>
          </ac:spMkLst>
        </pc:spChg>
      </pc:sldChg>
      <pc:sldChg chg="modSp add mod ord">
        <pc:chgData name="christophe CHUECOS-FONT" userId="7e57acaa-4bc6-4644-8edc-0ecdded28594" providerId="ADAL" clId="{9817B8E0-72E5-4A80-920F-95B62F123057}" dt="2021-02-05T12:49:34.742" v="2752" actId="20577"/>
        <pc:sldMkLst>
          <pc:docMk/>
          <pc:sldMk cId="3112461652" sldId="760"/>
        </pc:sldMkLst>
        <pc:spChg chg="mod">
          <ac:chgData name="christophe CHUECOS-FONT" userId="7e57acaa-4bc6-4644-8edc-0ecdded28594" providerId="ADAL" clId="{9817B8E0-72E5-4A80-920F-95B62F123057}" dt="2021-02-05T12:49:34.742" v="2752" actId="20577"/>
          <ac:spMkLst>
            <pc:docMk/>
            <pc:sldMk cId="3112461652" sldId="760"/>
            <ac:spMk id="2" creationId="{02517F6E-26E9-44E8-815E-774552D95FD0}"/>
          </ac:spMkLst>
        </pc:spChg>
      </pc:sldChg>
      <pc:sldChg chg="modSp add mod">
        <pc:chgData name="christophe CHUECOS-FONT" userId="7e57acaa-4bc6-4644-8edc-0ecdded28594" providerId="ADAL" clId="{9817B8E0-72E5-4A80-920F-95B62F123057}" dt="2021-02-05T13:07:16.399" v="3042" actId="1076"/>
        <pc:sldMkLst>
          <pc:docMk/>
          <pc:sldMk cId="212327455" sldId="761"/>
        </pc:sldMkLst>
        <pc:spChg chg="mod">
          <ac:chgData name="christophe CHUECOS-FONT" userId="7e57acaa-4bc6-4644-8edc-0ecdded28594" providerId="ADAL" clId="{9817B8E0-72E5-4A80-920F-95B62F123057}" dt="2021-02-05T13:07:13.807" v="3041" actId="1076"/>
          <ac:spMkLst>
            <pc:docMk/>
            <pc:sldMk cId="212327455" sldId="761"/>
            <ac:spMk id="2" creationId="{00000000-0000-0000-0000-000000000000}"/>
          </ac:spMkLst>
        </pc:spChg>
        <pc:spChg chg="mod">
          <ac:chgData name="christophe CHUECOS-FONT" userId="7e57acaa-4bc6-4644-8edc-0ecdded28594" providerId="ADAL" clId="{9817B8E0-72E5-4A80-920F-95B62F123057}" dt="2021-02-05T13:07:16.399" v="3042" actId="1076"/>
          <ac:spMkLst>
            <pc:docMk/>
            <pc:sldMk cId="212327455" sldId="761"/>
            <ac:spMk id="10" creationId="{2104DD9E-7F53-465D-8561-41BB61362ACA}"/>
          </ac:spMkLst>
        </pc:spChg>
      </pc:sldChg>
      <pc:sldChg chg="modSp add mod">
        <pc:chgData name="christophe CHUECOS-FONT" userId="7e57acaa-4bc6-4644-8edc-0ecdded28594" providerId="ADAL" clId="{9817B8E0-72E5-4A80-920F-95B62F123057}" dt="2021-02-05T13:07:28.880" v="3045" actId="20577"/>
        <pc:sldMkLst>
          <pc:docMk/>
          <pc:sldMk cId="2127276154" sldId="762"/>
        </pc:sldMkLst>
        <pc:spChg chg="mod">
          <ac:chgData name="christophe CHUECOS-FONT" userId="7e57acaa-4bc6-4644-8edc-0ecdded28594" providerId="ADAL" clId="{9817B8E0-72E5-4A80-920F-95B62F123057}" dt="2021-02-05T12:54:02.930" v="2817" actId="20577"/>
          <ac:spMkLst>
            <pc:docMk/>
            <pc:sldMk cId="2127276154" sldId="762"/>
            <ac:spMk id="2" creationId="{00000000-0000-0000-0000-000000000000}"/>
          </ac:spMkLst>
        </pc:spChg>
        <pc:spChg chg="mod">
          <ac:chgData name="christophe CHUECOS-FONT" userId="7e57acaa-4bc6-4644-8edc-0ecdded28594" providerId="ADAL" clId="{9817B8E0-72E5-4A80-920F-95B62F123057}" dt="2021-02-05T13:07:28.880" v="3045" actId="20577"/>
          <ac:spMkLst>
            <pc:docMk/>
            <pc:sldMk cId="2127276154" sldId="762"/>
            <ac:spMk id="10" creationId="{2104DD9E-7F53-465D-8561-41BB61362ACA}"/>
          </ac:spMkLst>
        </pc:spChg>
      </pc:sldChg>
      <pc:sldChg chg="delSp modSp add mod addCm delCm">
        <pc:chgData name="christophe CHUECOS-FONT" userId="7e57acaa-4bc6-4644-8edc-0ecdded28594" providerId="ADAL" clId="{9817B8E0-72E5-4A80-920F-95B62F123057}" dt="2021-02-05T13:08:14.558" v="3052" actId="20577"/>
        <pc:sldMkLst>
          <pc:docMk/>
          <pc:sldMk cId="4144782788" sldId="763"/>
        </pc:sldMkLst>
        <pc:spChg chg="mod">
          <ac:chgData name="christophe CHUECOS-FONT" userId="7e57acaa-4bc6-4644-8edc-0ecdded28594" providerId="ADAL" clId="{9817B8E0-72E5-4A80-920F-95B62F123057}" dt="2021-02-05T13:08:01.028" v="3048" actId="1076"/>
          <ac:spMkLst>
            <pc:docMk/>
            <pc:sldMk cId="4144782788" sldId="763"/>
            <ac:spMk id="2" creationId="{00000000-0000-0000-0000-000000000000}"/>
          </ac:spMkLst>
        </pc:spChg>
        <pc:spChg chg="del">
          <ac:chgData name="christophe CHUECOS-FONT" userId="7e57acaa-4bc6-4644-8edc-0ecdded28594" providerId="ADAL" clId="{9817B8E0-72E5-4A80-920F-95B62F123057}" dt="2021-02-05T12:55:12.116" v="2849" actId="21"/>
          <ac:spMkLst>
            <pc:docMk/>
            <pc:sldMk cId="4144782788" sldId="763"/>
            <ac:spMk id="4" creationId="{B907A768-CC25-4A4B-8C93-DA72B4C4D5E3}"/>
          </ac:spMkLst>
        </pc:spChg>
        <pc:spChg chg="mod">
          <ac:chgData name="christophe CHUECOS-FONT" userId="7e57acaa-4bc6-4644-8edc-0ecdded28594" providerId="ADAL" clId="{9817B8E0-72E5-4A80-920F-95B62F123057}" dt="2021-02-05T13:08:14.558" v="3052" actId="20577"/>
          <ac:spMkLst>
            <pc:docMk/>
            <pc:sldMk cId="4144782788" sldId="763"/>
            <ac:spMk id="10" creationId="{2104DD9E-7F53-465D-8561-41BB61362ACA}"/>
          </ac:spMkLst>
        </pc:spChg>
      </pc:sldChg>
      <pc:sldChg chg="modSp add mod">
        <pc:chgData name="christophe CHUECOS-FONT" userId="7e57acaa-4bc6-4644-8edc-0ecdded28594" providerId="ADAL" clId="{9817B8E0-72E5-4A80-920F-95B62F123057}" dt="2021-02-05T13:08:27.102" v="3054" actId="255"/>
        <pc:sldMkLst>
          <pc:docMk/>
          <pc:sldMk cId="3860019962" sldId="764"/>
        </pc:sldMkLst>
        <pc:spChg chg="mod">
          <ac:chgData name="christophe CHUECOS-FONT" userId="7e57acaa-4bc6-4644-8edc-0ecdded28594" providerId="ADAL" clId="{9817B8E0-72E5-4A80-920F-95B62F123057}" dt="2021-02-05T13:05:39.654" v="3027" actId="20577"/>
          <ac:spMkLst>
            <pc:docMk/>
            <pc:sldMk cId="3860019962" sldId="764"/>
            <ac:spMk id="2" creationId="{00000000-0000-0000-0000-000000000000}"/>
          </ac:spMkLst>
        </pc:spChg>
        <pc:spChg chg="mod">
          <ac:chgData name="christophe CHUECOS-FONT" userId="7e57acaa-4bc6-4644-8edc-0ecdded28594" providerId="ADAL" clId="{9817B8E0-72E5-4A80-920F-95B62F123057}" dt="2021-02-05T13:08:27.102" v="3054" actId="255"/>
          <ac:spMkLst>
            <pc:docMk/>
            <pc:sldMk cId="3860019962" sldId="764"/>
            <ac:spMk id="10" creationId="{2104DD9E-7F53-465D-8561-41BB61362ACA}"/>
          </ac:spMkLst>
        </pc:spChg>
      </pc:sldChg>
      <pc:sldChg chg="modSp add mod">
        <pc:chgData name="christophe CHUECOS-FONT" userId="7e57acaa-4bc6-4644-8edc-0ecdded28594" providerId="ADAL" clId="{9817B8E0-72E5-4A80-920F-95B62F123057}" dt="2021-02-05T13:08:45.211" v="3056" actId="2711"/>
        <pc:sldMkLst>
          <pc:docMk/>
          <pc:sldMk cId="2787990808" sldId="765"/>
        </pc:sldMkLst>
        <pc:spChg chg="mod">
          <ac:chgData name="christophe CHUECOS-FONT" userId="7e57acaa-4bc6-4644-8edc-0ecdded28594" providerId="ADAL" clId="{9817B8E0-72E5-4A80-920F-95B62F123057}" dt="2021-02-05T13:05:14.056" v="2977" actId="6549"/>
          <ac:spMkLst>
            <pc:docMk/>
            <pc:sldMk cId="2787990808" sldId="765"/>
            <ac:spMk id="2" creationId="{00000000-0000-0000-0000-000000000000}"/>
          </ac:spMkLst>
        </pc:spChg>
        <pc:spChg chg="mod">
          <ac:chgData name="christophe CHUECOS-FONT" userId="7e57acaa-4bc6-4644-8edc-0ecdded28594" providerId="ADAL" clId="{9817B8E0-72E5-4A80-920F-95B62F123057}" dt="2021-02-05T13:08:45.211" v="3056" actId="2711"/>
          <ac:spMkLst>
            <pc:docMk/>
            <pc:sldMk cId="2787990808" sldId="765"/>
            <ac:spMk id="10" creationId="{2104DD9E-7F53-465D-8561-41BB61362ACA}"/>
          </ac:spMkLst>
        </pc:spChg>
      </pc:sldChg>
      <pc:sldChg chg="modSp add mod">
        <pc:chgData name="christophe CHUECOS-FONT" userId="7e57acaa-4bc6-4644-8edc-0ecdded28594" providerId="ADAL" clId="{9817B8E0-72E5-4A80-920F-95B62F123057}" dt="2021-02-05T13:08:56.159" v="3058" actId="2711"/>
        <pc:sldMkLst>
          <pc:docMk/>
          <pc:sldMk cId="3006974179" sldId="766"/>
        </pc:sldMkLst>
        <pc:spChg chg="mod">
          <ac:chgData name="christophe CHUECOS-FONT" userId="7e57acaa-4bc6-4644-8edc-0ecdded28594" providerId="ADAL" clId="{9817B8E0-72E5-4A80-920F-95B62F123057}" dt="2021-02-05T13:08:56.159" v="3058" actId="2711"/>
          <ac:spMkLst>
            <pc:docMk/>
            <pc:sldMk cId="3006974179" sldId="766"/>
            <ac:spMk id="10" creationId="{2104DD9E-7F53-465D-8561-41BB61362ACA}"/>
          </ac:spMkLst>
        </pc:spChg>
      </pc:sldChg>
      <pc:sldChg chg="modSp add mod">
        <pc:chgData name="christophe CHUECOS-FONT" userId="7e57acaa-4bc6-4644-8edc-0ecdded28594" providerId="ADAL" clId="{9817B8E0-72E5-4A80-920F-95B62F123057}" dt="2021-02-05T13:09:53.568" v="3063" actId="20577"/>
        <pc:sldMkLst>
          <pc:docMk/>
          <pc:sldMk cId="3594099411" sldId="767"/>
        </pc:sldMkLst>
        <pc:spChg chg="mod">
          <ac:chgData name="christophe CHUECOS-FONT" userId="7e57acaa-4bc6-4644-8edc-0ecdded28594" providerId="ADAL" clId="{9817B8E0-72E5-4A80-920F-95B62F123057}" dt="2021-02-05T13:09:53.568" v="3063" actId="20577"/>
          <ac:spMkLst>
            <pc:docMk/>
            <pc:sldMk cId="3594099411" sldId="767"/>
            <ac:spMk id="10" creationId="{2104DD9E-7F53-465D-8561-41BB61362ACA}"/>
          </ac:spMkLst>
        </pc:spChg>
      </pc:sldChg>
      <pc:sldChg chg="modSp add mod">
        <pc:chgData name="christophe CHUECOS-FONT" userId="7e57acaa-4bc6-4644-8edc-0ecdded28594" providerId="ADAL" clId="{9817B8E0-72E5-4A80-920F-95B62F123057}" dt="2021-02-05T13:10:41.148" v="3067" actId="207"/>
        <pc:sldMkLst>
          <pc:docMk/>
          <pc:sldMk cId="3439461203" sldId="768"/>
        </pc:sldMkLst>
        <pc:spChg chg="mod">
          <ac:chgData name="christophe CHUECOS-FONT" userId="7e57acaa-4bc6-4644-8edc-0ecdded28594" providerId="ADAL" clId="{9817B8E0-72E5-4A80-920F-95B62F123057}" dt="2021-02-05T13:10:41.148" v="3067" actId="207"/>
          <ac:spMkLst>
            <pc:docMk/>
            <pc:sldMk cId="3439461203" sldId="768"/>
            <ac:spMk id="10" creationId="{2104DD9E-7F53-465D-8561-41BB61362ACA}"/>
          </ac:spMkLst>
        </pc:spChg>
      </pc:sldChg>
      <pc:sldChg chg="addSp delSp modSp add mod ord setBg setClrOvrMap">
        <pc:chgData name="christophe CHUECOS-FONT" userId="7e57acaa-4bc6-4644-8edc-0ecdded28594" providerId="ADAL" clId="{9817B8E0-72E5-4A80-920F-95B62F123057}" dt="2021-02-05T13:28:38.120" v="3219" actId="26606"/>
        <pc:sldMkLst>
          <pc:docMk/>
          <pc:sldMk cId="1646378701" sldId="769"/>
        </pc:sldMkLst>
        <pc:spChg chg="mod">
          <ac:chgData name="christophe CHUECOS-FONT" userId="7e57acaa-4bc6-4644-8edc-0ecdded28594" providerId="ADAL" clId="{9817B8E0-72E5-4A80-920F-95B62F123057}" dt="2021-02-05T13:28:38.120" v="3219" actId="26606"/>
          <ac:spMkLst>
            <pc:docMk/>
            <pc:sldMk cId="1646378701" sldId="769"/>
            <ac:spMk id="2" creationId="{55455007-8AF7-4CFF-8B0D-381E697B6724}"/>
          </ac:spMkLst>
        </pc:spChg>
        <pc:spChg chg="add del">
          <ac:chgData name="christophe CHUECOS-FONT" userId="7e57acaa-4bc6-4644-8edc-0ecdded28594" providerId="ADAL" clId="{9817B8E0-72E5-4A80-920F-95B62F123057}" dt="2021-02-05T13:28:38.120" v="3219" actId="26606"/>
          <ac:spMkLst>
            <pc:docMk/>
            <pc:sldMk cId="1646378701" sldId="769"/>
            <ac:spMk id="10" creationId="{07E773EB-1EC1-4E49-9DE2-E6F460497242}"/>
          </ac:spMkLst>
        </pc:spChg>
        <pc:spChg chg="add del">
          <ac:chgData name="christophe CHUECOS-FONT" userId="7e57acaa-4bc6-4644-8edc-0ecdded28594" providerId="ADAL" clId="{9817B8E0-72E5-4A80-920F-95B62F123057}" dt="2021-02-05T13:28:36.052" v="3216" actId="26606"/>
          <ac:spMkLst>
            <pc:docMk/>
            <pc:sldMk cId="1646378701" sldId="769"/>
            <ac:spMk id="15" creationId="{59A309A7-1751-4ABE-A3C1-EEC40366AD89}"/>
          </ac:spMkLst>
        </pc:spChg>
        <pc:spChg chg="add del">
          <ac:chgData name="christophe CHUECOS-FONT" userId="7e57acaa-4bc6-4644-8edc-0ecdded28594" providerId="ADAL" clId="{9817B8E0-72E5-4A80-920F-95B62F123057}" dt="2021-02-05T13:28:36.052" v="3216" actId="26606"/>
          <ac:spMkLst>
            <pc:docMk/>
            <pc:sldMk cId="1646378701" sldId="769"/>
            <ac:spMk id="17" creationId="{967D8EB6-EAE1-4F9C-B398-83321E287204}"/>
          </ac:spMkLst>
        </pc:spChg>
        <pc:spChg chg="add del">
          <ac:chgData name="christophe CHUECOS-FONT" userId="7e57acaa-4bc6-4644-8edc-0ecdded28594" providerId="ADAL" clId="{9817B8E0-72E5-4A80-920F-95B62F123057}" dt="2021-02-05T13:28:38.120" v="3218" actId="26606"/>
          <ac:spMkLst>
            <pc:docMk/>
            <pc:sldMk cId="1646378701" sldId="769"/>
            <ac:spMk id="19" creationId="{9B7AD9F6-8CE7-4299-8FC6-328F4DCD3FF9}"/>
          </ac:spMkLst>
        </pc:spChg>
        <pc:spChg chg="add del">
          <ac:chgData name="christophe CHUECOS-FONT" userId="7e57acaa-4bc6-4644-8edc-0ecdded28594" providerId="ADAL" clId="{9817B8E0-72E5-4A80-920F-95B62F123057}" dt="2021-02-05T13:28:38.120" v="3218" actId="26606"/>
          <ac:spMkLst>
            <pc:docMk/>
            <pc:sldMk cId="1646378701" sldId="769"/>
            <ac:spMk id="20" creationId="{F49775AF-8896-43EE-92C6-83497D6DC56F}"/>
          </ac:spMkLst>
        </pc:spChg>
        <pc:spChg chg="add">
          <ac:chgData name="christophe CHUECOS-FONT" userId="7e57acaa-4bc6-4644-8edc-0ecdded28594" providerId="ADAL" clId="{9817B8E0-72E5-4A80-920F-95B62F123057}" dt="2021-02-05T13:28:38.120" v="3219" actId="26606"/>
          <ac:spMkLst>
            <pc:docMk/>
            <pc:sldMk cId="1646378701" sldId="769"/>
            <ac:spMk id="22" creationId="{B50AB553-2A96-4A92-96F2-93548E096954}"/>
          </ac:spMkLst>
        </pc:spChg>
        <pc:graphicFrameChg chg="mod modGraphic">
          <ac:chgData name="christophe CHUECOS-FONT" userId="7e57acaa-4bc6-4644-8edc-0ecdded28594" providerId="ADAL" clId="{9817B8E0-72E5-4A80-920F-95B62F123057}" dt="2021-02-05T13:28:38.120" v="3219" actId="26606"/>
          <ac:graphicFrameMkLst>
            <pc:docMk/>
            <pc:sldMk cId="1646378701" sldId="769"/>
            <ac:graphicFrameMk id="5" creationId="{0C899C7D-CFDA-4D32-B2E9-07B40C3BB1B2}"/>
          </ac:graphicFrameMkLst>
        </pc:graphicFrameChg>
      </pc:sldChg>
      <pc:sldChg chg="addSp delSp modSp add mod ord">
        <pc:chgData name="christophe CHUECOS-FONT" userId="7e57acaa-4bc6-4644-8edc-0ecdded28594" providerId="ADAL" clId="{9817B8E0-72E5-4A80-920F-95B62F123057}" dt="2021-02-05T13:28:12.518" v="3212"/>
        <pc:sldMkLst>
          <pc:docMk/>
          <pc:sldMk cId="6719625" sldId="770"/>
        </pc:sldMkLst>
        <pc:spChg chg="mod">
          <ac:chgData name="christophe CHUECOS-FONT" userId="7e57acaa-4bc6-4644-8edc-0ecdded28594" providerId="ADAL" clId="{9817B8E0-72E5-4A80-920F-95B62F123057}" dt="2021-02-05T13:28:00.639" v="3208" actId="26606"/>
          <ac:spMkLst>
            <pc:docMk/>
            <pc:sldMk cId="6719625" sldId="770"/>
            <ac:spMk id="2" creationId="{55455007-8AF7-4CFF-8B0D-381E697B6724}"/>
          </ac:spMkLst>
        </pc:spChg>
        <pc:spChg chg="del">
          <ac:chgData name="christophe CHUECOS-FONT" userId="7e57acaa-4bc6-4644-8edc-0ecdded28594" providerId="ADAL" clId="{9817B8E0-72E5-4A80-920F-95B62F123057}" dt="2021-02-05T13:28:00.639" v="3208" actId="26606"/>
          <ac:spMkLst>
            <pc:docMk/>
            <pc:sldMk cId="6719625" sldId="770"/>
            <ac:spMk id="10" creationId="{07E773EB-1EC1-4E49-9DE2-E6F460497242}"/>
          </ac:spMkLst>
        </pc:spChg>
        <pc:spChg chg="add">
          <ac:chgData name="christophe CHUECOS-FONT" userId="7e57acaa-4bc6-4644-8edc-0ecdded28594" providerId="ADAL" clId="{9817B8E0-72E5-4A80-920F-95B62F123057}" dt="2021-02-05T13:28:00.639" v="3208" actId="26606"/>
          <ac:spMkLst>
            <pc:docMk/>
            <pc:sldMk cId="6719625" sldId="770"/>
            <ac:spMk id="15" creationId="{257363FD-7E77-4145-9483-331A807ADF0E}"/>
          </ac:spMkLst>
        </pc:spChg>
        <pc:graphicFrameChg chg="mod modGraphic">
          <ac:chgData name="christophe CHUECOS-FONT" userId="7e57acaa-4bc6-4644-8edc-0ecdded28594" providerId="ADAL" clId="{9817B8E0-72E5-4A80-920F-95B62F123057}" dt="2021-02-05T13:28:12.518" v="3212"/>
          <ac:graphicFrameMkLst>
            <pc:docMk/>
            <pc:sldMk cId="6719625" sldId="770"/>
            <ac:graphicFrameMk id="5" creationId="{0C899C7D-CFDA-4D32-B2E9-07B40C3BB1B2}"/>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image" Target="../media/image3.png"/></Relationships>
</file>

<file path=ppt/diagrams/_rels/data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_rels/data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image" Target="../media/image20.PNG"/></Relationships>
</file>

<file path=ppt/diagrams/_rels/data12.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diagrams/_rels/data6.xml.rels><?xml version="1.0" encoding="UTF-8" standalone="yes"?>
<Relationships xmlns="http://schemas.openxmlformats.org/package/2006/relationships"><Relationship Id="rId3" Type="http://schemas.openxmlformats.org/officeDocument/2006/relationships/hyperlink" Target="https://fr.wikipedia.org/wiki/Compte_de_r%C3%A9sultat" TargetMode="External"/><Relationship Id="rId2" Type="http://schemas.openxmlformats.org/officeDocument/2006/relationships/hyperlink" Target="https://fr.wikipedia.org/wiki/Bilan_comptable" TargetMode="External"/><Relationship Id="rId1" Type="http://schemas.openxmlformats.org/officeDocument/2006/relationships/hyperlink" Target="https://fr.wikipedia.org/wiki/Comptabilit%C3%A9" TargetMode="External"/><Relationship Id="rId5" Type="http://schemas.openxmlformats.org/officeDocument/2006/relationships/hyperlink" Target="https://fr.wikipedia.org/wiki/Actif_(comptabilit%C3%A9)" TargetMode="External"/><Relationship Id="rId4" Type="http://schemas.openxmlformats.org/officeDocument/2006/relationships/hyperlink" Target="https://fr.wikipedia.org/wiki/Passif_(comptabilit%C3%A9)" TargetMode="External"/></Relationships>
</file>

<file path=ppt/diagrams/_rels/data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image" Target="../media/image3.png"/></Relationships>
</file>

<file path=ppt/diagrams/_rels/drawing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_rels/drawing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image" Target="../media/image20.PNG"/></Relationships>
</file>

<file path=ppt/diagrams/_rels/drawing12.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diagrams/_rels/drawing6.xml.rels><?xml version="1.0" encoding="UTF-8" standalone="yes"?>
<Relationships xmlns="http://schemas.openxmlformats.org/package/2006/relationships"><Relationship Id="rId3" Type="http://schemas.openxmlformats.org/officeDocument/2006/relationships/hyperlink" Target="https://fr.wikipedia.org/wiki/Compte_de_r%C3%A9sultat" TargetMode="External"/><Relationship Id="rId2" Type="http://schemas.openxmlformats.org/officeDocument/2006/relationships/hyperlink" Target="https://fr.wikipedia.org/wiki/Bilan_comptable" TargetMode="External"/><Relationship Id="rId1" Type="http://schemas.openxmlformats.org/officeDocument/2006/relationships/hyperlink" Target="https://fr.wikipedia.org/wiki/Comptabilit%C3%A9" TargetMode="External"/><Relationship Id="rId5" Type="http://schemas.openxmlformats.org/officeDocument/2006/relationships/hyperlink" Target="https://fr.wikipedia.org/wiki/Actif_(comptabilit%C3%A9)" TargetMode="External"/><Relationship Id="rId4" Type="http://schemas.openxmlformats.org/officeDocument/2006/relationships/hyperlink" Target="https://fr.wikipedia.org/wiki/Passif_(comptabilit%C3%A9)" TargetMode="External"/></Relationships>
</file>

<file path=ppt/diagrams/_rels/drawing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1EF080-B712-4C94-85C9-2834E4FF9B85}"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fr-FR"/>
        </a:p>
      </dgm:t>
    </dgm:pt>
    <dgm:pt modelId="{C0BD80EF-516E-4965-8596-D5EEF98F2E9F}">
      <dgm:prSet phldrT="[Texte]"/>
      <dgm:spPr/>
      <dgm:t>
        <a:bodyPr/>
        <a:lstStyle/>
        <a:p>
          <a:r>
            <a:rPr lang="fr-FR" dirty="0">
              <a:latin typeface="Arial" panose="020B0604020202020204" pitchFamily="34" charset="0"/>
              <a:cs typeface="Arial" panose="020B0604020202020204" pitchFamily="34" charset="0"/>
            </a:rPr>
            <a:t>Les textes internationaux</a:t>
          </a:r>
        </a:p>
      </dgm:t>
    </dgm:pt>
    <dgm:pt modelId="{95CAE099-72CF-41C3-B335-6EF12300DE6B}" type="parTrans" cxnId="{B40DE33F-A963-4439-B30C-C96B84416EEC}">
      <dgm:prSet/>
      <dgm:spPr/>
      <dgm:t>
        <a:bodyPr/>
        <a:lstStyle/>
        <a:p>
          <a:endParaRPr lang="fr-FR"/>
        </a:p>
      </dgm:t>
    </dgm:pt>
    <dgm:pt modelId="{776898F0-7A36-4D08-AB68-59D68AFDE7EF}" type="sibTrans" cxnId="{B40DE33F-A963-4439-B30C-C96B84416EEC}">
      <dgm:prSet/>
      <dgm:spPr/>
      <dgm:t>
        <a:bodyPr/>
        <a:lstStyle/>
        <a:p>
          <a:endParaRPr lang="fr-FR"/>
        </a:p>
      </dgm:t>
    </dgm:pt>
    <dgm:pt modelId="{C9D7CCCF-8901-492E-9138-770E690307E3}">
      <dgm:prSet phldrT="[Texte]"/>
      <dgm:spPr/>
      <dgm:t>
        <a:bodyPr/>
        <a:lstStyle/>
        <a:p>
          <a:r>
            <a:rPr lang="fr-FR" dirty="0">
              <a:latin typeface="Arial" panose="020B0604020202020204" pitchFamily="34" charset="0"/>
              <a:cs typeface="Arial" panose="020B0604020202020204" pitchFamily="34" charset="0"/>
            </a:rPr>
            <a:t>Traités</a:t>
          </a:r>
        </a:p>
      </dgm:t>
    </dgm:pt>
    <dgm:pt modelId="{663D2215-7CD9-49E0-8230-3DD8D5381033}" type="parTrans" cxnId="{14731D9F-DD98-4E8E-A4E9-E10D95DD8497}">
      <dgm:prSet/>
      <dgm:spPr/>
      <dgm:t>
        <a:bodyPr/>
        <a:lstStyle/>
        <a:p>
          <a:endParaRPr lang="fr-FR"/>
        </a:p>
      </dgm:t>
    </dgm:pt>
    <dgm:pt modelId="{FAD38596-6135-4511-8800-1889A3CA91B0}" type="sibTrans" cxnId="{14731D9F-DD98-4E8E-A4E9-E10D95DD8497}">
      <dgm:prSet/>
      <dgm:spPr/>
      <dgm:t>
        <a:bodyPr/>
        <a:lstStyle/>
        <a:p>
          <a:endParaRPr lang="fr-FR"/>
        </a:p>
      </dgm:t>
    </dgm:pt>
    <dgm:pt modelId="{678DC6DB-4AD4-40FD-87CA-D35469FAE753}">
      <dgm:prSet phldrT="[Texte]"/>
      <dgm:spPr/>
      <dgm:t>
        <a:bodyPr/>
        <a:lstStyle/>
        <a:p>
          <a:r>
            <a:rPr lang="fr-FR" dirty="0">
              <a:latin typeface="Arial" panose="020B0604020202020204" pitchFamily="34" charset="0"/>
              <a:cs typeface="Arial" panose="020B0604020202020204" pitchFamily="34" charset="0"/>
            </a:rPr>
            <a:t>Les textes nationaux</a:t>
          </a:r>
        </a:p>
      </dgm:t>
    </dgm:pt>
    <dgm:pt modelId="{465E9505-E8C1-48B3-98A1-AB2F881D6107}" type="parTrans" cxnId="{8D195944-8BA0-47B4-8DDA-0C2AC0A3BFE1}">
      <dgm:prSet/>
      <dgm:spPr/>
      <dgm:t>
        <a:bodyPr/>
        <a:lstStyle/>
        <a:p>
          <a:endParaRPr lang="fr-FR"/>
        </a:p>
      </dgm:t>
    </dgm:pt>
    <dgm:pt modelId="{48E28AD3-5866-4ACC-B67D-796764C2FCC8}" type="sibTrans" cxnId="{8D195944-8BA0-47B4-8DDA-0C2AC0A3BFE1}">
      <dgm:prSet/>
      <dgm:spPr/>
      <dgm:t>
        <a:bodyPr/>
        <a:lstStyle/>
        <a:p>
          <a:endParaRPr lang="fr-FR"/>
        </a:p>
      </dgm:t>
    </dgm:pt>
    <dgm:pt modelId="{C6952881-4FF1-40AA-8B04-9EA2F7EC0DC3}">
      <dgm:prSet phldrT="[Texte]"/>
      <dgm:spPr/>
      <dgm:t>
        <a:bodyPr/>
        <a:lstStyle/>
        <a:p>
          <a:r>
            <a:rPr lang="fr-FR" dirty="0">
              <a:latin typeface="Arial" panose="020B0604020202020204" pitchFamily="34" charset="0"/>
              <a:cs typeface="Arial" panose="020B0604020202020204" pitchFamily="34" charset="0"/>
            </a:rPr>
            <a:t>Lois /ordonnances / décrets / arrêtés</a:t>
          </a:r>
        </a:p>
      </dgm:t>
    </dgm:pt>
    <dgm:pt modelId="{5E2C9024-C390-43E7-BFCB-7DF29ABFCA5B}" type="parTrans" cxnId="{58845C0F-2375-4539-BC71-ED09BF8FDEED}">
      <dgm:prSet/>
      <dgm:spPr/>
      <dgm:t>
        <a:bodyPr/>
        <a:lstStyle/>
        <a:p>
          <a:endParaRPr lang="fr-FR"/>
        </a:p>
      </dgm:t>
    </dgm:pt>
    <dgm:pt modelId="{B3131078-EDB1-4AB4-894C-0640992B6C9C}" type="sibTrans" cxnId="{58845C0F-2375-4539-BC71-ED09BF8FDEED}">
      <dgm:prSet/>
      <dgm:spPr/>
      <dgm:t>
        <a:bodyPr/>
        <a:lstStyle/>
        <a:p>
          <a:endParaRPr lang="fr-FR"/>
        </a:p>
      </dgm:t>
    </dgm:pt>
    <dgm:pt modelId="{1679867D-70BE-46EE-ADC4-3DE3CE43E727}">
      <dgm:prSet phldrT="[Texte]"/>
      <dgm:spPr/>
      <dgm:t>
        <a:bodyPr/>
        <a:lstStyle/>
        <a:p>
          <a:r>
            <a:rPr lang="fr-FR" dirty="0">
              <a:latin typeface="Arial" panose="020B0604020202020204" pitchFamily="34" charset="0"/>
              <a:cs typeface="Arial" panose="020B0604020202020204" pitchFamily="34" charset="0"/>
            </a:rPr>
            <a:t>(code de commerce, code monétaire et financier…)</a:t>
          </a:r>
        </a:p>
      </dgm:t>
    </dgm:pt>
    <dgm:pt modelId="{B4507DE8-BEB8-4C6E-AE83-2CACA01AF9F9}" type="parTrans" cxnId="{0C41DE04-8E1C-4DD6-AEC6-F2B556B41F0E}">
      <dgm:prSet/>
      <dgm:spPr/>
      <dgm:t>
        <a:bodyPr/>
        <a:lstStyle/>
        <a:p>
          <a:endParaRPr lang="fr-FR"/>
        </a:p>
      </dgm:t>
    </dgm:pt>
    <dgm:pt modelId="{798747B0-461D-46B6-A2B3-7ECF863DE9F1}" type="sibTrans" cxnId="{0C41DE04-8E1C-4DD6-AEC6-F2B556B41F0E}">
      <dgm:prSet/>
      <dgm:spPr/>
      <dgm:t>
        <a:bodyPr/>
        <a:lstStyle/>
        <a:p>
          <a:endParaRPr lang="fr-FR"/>
        </a:p>
      </dgm:t>
    </dgm:pt>
    <dgm:pt modelId="{3A942E62-C9E8-42F2-AD40-530203837BD3}">
      <dgm:prSet phldrT="[Texte]"/>
      <dgm:spPr/>
      <dgm:t>
        <a:bodyPr/>
        <a:lstStyle/>
        <a:p>
          <a:r>
            <a:rPr lang="fr-FR" dirty="0">
              <a:latin typeface="Arial" panose="020B0604020202020204" pitchFamily="34" charset="0"/>
              <a:cs typeface="Arial" panose="020B0604020202020204" pitchFamily="34" charset="0"/>
            </a:rPr>
            <a:t>Les autres sources</a:t>
          </a:r>
        </a:p>
      </dgm:t>
    </dgm:pt>
    <dgm:pt modelId="{9AB1F3AD-A7E8-4CA1-ADC4-B87F540A80E2}" type="parTrans" cxnId="{DB2D6753-0118-478D-AF11-4E42971A7ACE}">
      <dgm:prSet/>
      <dgm:spPr/>
      <dgm:t>
        <a:bodyPr/>
        <a:lstStyle/>
        <a:p>
          <a:endParaRPr lang="fr-FR"/>
        </a:p>
      </dgm:t>
    </dgm:pt>
    <dgm:pt modelId="{419199C9-AD27-4111-AF5E-1CEF69744FB0}" type="sibTrans" cxnId="{DB2D6753-0118-478D-AF11-4E42971A7ACE}">
      <dgm:prSet/>
      <dgm:spPr/>
      <dgm:t>
        <a:bodyPr/>
        <a:lstStyle/>
        <a:p>
          <a:endParaRPr lang="fr-FR"/>
        </a:p>
      </dgm:t>
    </dgm:pt>
    <dgm:pt modelId="{42044A57-D2E3-43AE-AB40-5CCF3234C12B}">
      <dgm:prSet phldrT="[Texte]"/>
      <dgm:spPr/>
      <dgm:t>
        <a:bodyPr/>
        <a:lstStyle/>
        <a:p>
          <a:r>
            <a:rPr lang="fr-FR" dirty="0">
              <a:latin typeface="Arial" panose="020B0604020202020204" pitchFamily="34" charset="0"/>
              <a:cs typeface="Arial" panose="020B0604020202020204" pitchFamily="34" charset="0"/>
            </a:rPr>
            <a:t>Jurisprudence / doctrine</a:t>
          </a:r>
        </a:p>
      </dgm:t>
    </dgm:pt>
    <dgm:pt modelId="{8C61A41F-1712-4F9B-8CF1-A9104FB0BE9E}" type="parTrans" cxnId="{006FE8E8-D79A-4F8B-A15E-410066B0830E}">
      <dgm:prSet/>
      <dgm:spPr/>
      <dgm:t>
        <a:bodyPr/>
        <a:lstStyle/>
        <a:p>
          <a:endParaRPr lang="fr-FR"/>
        </a:p>
      </dgm:t>
    </dgm:pt>
    <dgm:pt modelId="{AE112D65-0A01-47B1-A666-94381A85DB70}" type="sibTrans" cxnId="{006FE8E8-D79A-4F8B-A15E-410066B0830E}">
      <dgm:prSet/>
      <dgm:spPr/>
      <dgm:t>
        <a:bodyPr/>
        <a:lstStyle/>
        <a:p>
          <a:endParaRPr lang="fr-FR"/>
        </a:p>
      </dgm:t>
    </dgm:pt>
    <dgm:pt modelId="{03ABC338-0266-46C3-AB82-4465ECD5DA08}">
      <dgm:prSet phldrT="[Texte]"/>
      <dgm:spPr/>
      <dgm:t>
        <a:bodyPr/>
        <a:lstStyle/>
        <a:p>
          <a:r>
            <a:rPr lang="fr-FR" dirty="0">
              <a:latin typeface="Arial" panose="020B0604020202020204" pitchFamily="34" charset="0"/>
              <a:cs typeface="Arial" panose="020B0604020202020204" pitchFamily="34" charset="0"/>
            </a:rPr>
            <a:t>Règlements</a:t>
          </a:r>
        </a:p>
      </dgm:t>
    </dgm:pt>
    <dgm:pt modelId="{D727F0F4-095E-4F17-A6A7-64DA0FF1DC05}" type="parTrans" cxnId="{3CBEFE0C-DEC7-434E-AB5E-08B9A82437B0}">
      <dgm:prSet/>
      <dgm:spPr/>
      <dgm:t>
        <a:bodyPr/>
        <a:lstStyle/>
        <a:p>
          <a:endParaRPr lang="fr-FR"/>
        </a:p>
      </dgm:t>
    </dgm:pt>
    <dgm:pt modelId="{93C97D2F-1E54-4CAA-83AE-D15431F23225}" type="sibTrans" cxnId="{3CBEFE0C-DEC7-434E-AB5E-08B9A82437B0}">
      <dgm:prSet/>
      <dgm:spPr/>
      <dgm:t>
        <a:bodyPr/>
        <a:lstStyle/>
        <a:p>
          <a:endParaRPr lang="fr-FR"/>
        </a:p>
      </dgm:t>
    </dgm:pt>
    <dgm:pt modelId="{EA501946-49C0-49AC-AAF3-4ACA247905EE}">
      <dgm:prSet phldrT="[Texte]"/>
      <dgm:spPr/>
      <dgm:t>
        <a:bodyPr/>
        <a:lstStyle/>
        <a:p>
          <a:r>
            <a:rPr lang="fr-FR" dirty="0">
              <a:latin typeface="Arial" panose="020B0604020202020204" pitchFamily="34" charset="0"/>
              <a:cs typeface="Arial" panose="020B0604020202020204" pitchFamily="34" charset="0"/>
            </a:rPr>
            <a:t>Directives notamment européennes</a:t>
          </a:r>
        </a:p>
      </dgm:t>
    </dgm:pt>
    <dgm:pt modelId="{39A9792A-D765-48AA-BBB3-E820BA200B69}" type="parTrans" cxnId="{B51D2230-2D67-467B-B629-CE1F1FBE0C40}">
      <dgm:prSet/>
      <dgm:spPr/>
      <dgm:t>
        <a:bodyPr/>
        <a:lstStyle/>
        <a:p>
          <a:endParaRPr lang="fr-FR"/>
        </a:p>
      </dgm:t>
    </dgm:pt>
    <dgm:pt modelId="{F5F247A5-BB9E-4F88-B776-E4FE637577C8}" type="sibTrans" cxnId="{B51D2230-2D67-467B-B629-CE1F1FBE0C40}">
      <dgm:prSet/>
      <dgm:spPr/>
      <dgm:t>
        <a:bodyPr/>
        <a:lstStyle/>
        <a:p>
          <a:endParaRPr lang="fr-FR"/>
        </a:p>
      </dgm:t>
    </dgm:pt>
    <dgm:pt modelId="{B7EC54BA-764F-427A-BA07-55B38A572B8D}" type="pres">
      <dgm:prSet presAssocID="{AD1EF080-B712-4C94-85C9-2834E4FF9B85}" presName="linear" presStyleCnt="0">
        <dgm:presLayoutVars>
          <dgm:dir/>
          <dgm:resizeHandles val="exact"/>
        </dgm:presLayoutVars>
      </dgm:prSet>
      <dgm:spPr/>
    </dgm:pt>
    <dgm:pt modelId="{4B02A86E-AE0F-45CB-BDB1-9A589A39A013}" type="pres">
      <dgm:prSet presAssocID="{C0BD80EF-516E-4965-8596-D5EEF98F2E9F}" presName="comp" presStyleCnt="0"/>
      <dgm:spPr/>
    </dgm:pt>
    <dgm:pt modelId="{B968F335-70E9-4503-B1BF-3EDEE3A7903C}" type="pres">
      <dgm:prSet presAssocID="{C0BD80EF-516E-4965-8596-D5EEF98F2E9F}" presName="box" presStyleLbl="node1" presStyleIdx="0" presStyleCnt="3"/>
      <dgm:spPr/>
    </dgm:pt>
    <dgm:pt modelId="{C78BC5B7-8F94-48B4-B8FF-27B36C86994A}" type="pres">
      <dgm:prSet presAssocID="{C0BD80EF-516E-4965-8596-D5EEF98F2E9F}"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295B81D-0A71-493C-A892-3B2FE31F2F68}" type="pres">
      <dgm:prSet presAssocID="{C0BD80EF-516E-4965-8596-D5EEF98F2E9F}" presName="text" presStyleLbl="node1" presStyleIdx="0" presStyleCnt="3">
        <dgm:presLayoutVars>
          <dgm:bulletEnabled val="1"/>
        </dgm:presLayoutVars>
      </dgm:prSet>
      <dgm:spPr/>
    </dgm:pt>
    <dgm:pt modelId="{19FFFDD4-930A-43A7-8065-CC01AD90C061}" type="pres">
      <dgm:prSet presAssocID="{776898F0-7A36-4D08-AB68-59D68AFDE7EF}" presName="spacer" presStyleCnt="0"/>
      <dgm:spPr/>
    </dgm:pt>
    <dgm:pt modelId="{12E43313-C7D0-4FCA-A231-117C4C3302CA}" type="pres">
      <dgm:prSet presAssocID="{678DC6DB-4AD4-40FD-87CA-D35469FAE753}" presName="comp" presStyleCnt="0"/>
      <dgm:spPr/>
    </dgm:pt>
    <dgm:pt modelId="{4B49AA85-8556-481E-9710-1782948917FA}" type="pres">
      <dgm:prSet presAssocID="{678DC6DB-4AD4-40FD-87CA-D35469FAE753}" presName="box" presStyleLbl="node1" presStyleIdx="1" presStyleCnt="3"/>
      <dgm:spPr/>
    </dgm:pt>
    <dgm:pt modelId="{6444A6FD-B210-4F6F-902D-F22E5BD576E3}" type="pres">
      <dgm:prSet presAssocID="{678DC6DB-4AD4-40FD-87CA-D35469FAE753}"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7000" r="-7000"/>
          </a:stretch>
        </a:blipFill>
      </dgm:spPr>
    </dgm:pt>
    <dgm:pt modelId="{B2BC688B-E02D-4509-AD6B-A49D921D9DB5}" type="pres">
      <dgm:prSet presAssocID="{678DC6DB-4AD4-40FD-87CA-D35469FAE753}" presName="text" presStyleLbl="node1" presStyleIdx="1" presStyleCnt="3">
        <dgm:presLayoutVars>
          <dgm:bulletEnabled val="1"/>
        </dgm:presLayoutVars>
      </dgm:prSet>
      <dgm:spPr/>
    </dgm:pt>
    <dgm:pt modelId="{933AFD33-142F-401E-A7EB-F2F2398785BF}" type="pres">
      <dgm:prSet presAssocID="{48E28AD3-5866-4ACC-B67D-796764C2FCC8}" presName="spacer" presStyleCnt="0"/>
      <dgm:spPr/>
    </dgm:pt>
    <dgm:pt modelId="{3ED01F0C-745F-44C9-8792-AC294435C53E}" type="pres">
      <dgm:prSet presAssocID="{3A942E62-C9E8-42F2-AD40-530203837BD3}" presName="comp" presStyleCnt="0"/>
      <dgm:spPr/>
    </dgm:pt>
    <dgm:pt modelId="{5A922C9D-894B-4011-9103-9B4F5E0AC408}" type="pres">
      <dgm:prSet presAssocID="{3A942E62-C9E8-42F2-AD40-530203837BD3}" presName="box" presStyleLbl="node1" presStyleIdx="2" presStyleCnt="3"/>
      <dgm:spPr/>
    </dgm:pt>
    <dgm:pt modelId="{C0C17F41-BE34-4DA9-9716-F6607A6A1A75}" type="pres">
      <dgm:prSet presAssocID="{3A942E62-C9E8-42F2-AD40-530203837BD3}"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4000" b="-4000"/>
          </a:stretch>
        </a:blipFill>
      </dgm:spPr>
    </dgm:pt>
    <dgm:pt modelId="{B08B2A89-0196-41CE-83D6-E808F3ADB916}" type="pres">
      <dgm:prSet presAssocID="{3A942E62-C9E8-42F2-AD40-530203837BD3}" presName="text" presStyleLbl="node1" presStyleIdx="2" presStyleCnt="3">
        <dgm:presLayoutVars>
          <dgm:bulletEnabled val="1"/>
        </dgm:presLayoutVars>
      </dgm:prSet>
      <dgm:spPr/>
    </dgm:pt>
  </dgm:ptLst>
  <dgm:cxnLst>
    <dgm:cxn modelId="{0C41DE04-8E1C-4DD6-AEC6-F2B556B41F0E}" srcId="{678DC6DB-4AD4-40FD-87CA-D35469FAE753}" destId="{1679867D-70BE-46EE-ADC4-3DE3CE43E727}" srcOrd="1" destOrd="0" parTransId="{B4507DE8-BEB8-4C6E-AE83-2CACA01AF9F9}" sibTransId="{798747B0-461D-46B6-A2B3-7ECF863DE9F1}"/>
    <dgm:cxn modelId="{3CBEFE0C-DEC7-434E-AB5E-08B9A82437B0}" srcId="{C0BD80EF-516E-4965-8596-D5EEF98F2E9F}" destId="{03ABC338-0266-46C3-AB82-4465ECD5DA08}" srcOrd="1" destOrd="0" parTransId="{D727F0F4-095E-4F17-A6A7-64DA0FF1DC05}" sibTransId="{93C97D2F-1E54-4CAA-83AE-D15431F23225}"/>
    <dgm:cxn modelId="{FD86100D-C1DE-457F-AD96-7EB7ED723606}" type="presOf" srcId="{EA501946-49C0-49AC-AAF3-4ACA247905EE}" destId="{B968F335-70E9-4503-B1BF-3EDEE3A7903C}" srcOrd="0" destOrd="3" presId="urn:microsoft.com/office/officeart/2005/8/layout/vList4"/>
    <dgm:cxn modelId="{58845C0F-2375-4539-BC71-ED09BF8FDEED}" srcId="{678DC6DB-4AD4-40FD-87CA-D35469FAE753}" destId="{C6952881-4FF1-40AA-8B04-9EA2F7EC0DC3}" srcOrd="0" destOrd="0" parTransId="{5E2C9024-C390-43E7-BFCB-7DF29ABFCA5B}" sibTransId="{B3131078-EDB1-4AB4-894C-0640992B6C9C}"/>
    <dgm:cxn modelId="{46AC6D10-3606-43BB-9DB7-6A7A9AF2D18A}" type="presOf" srcId="{C9D7CCCF-8901-492E-9138-770E690307E3}" destId="{B968F335-70E9-4503-B1BF-3EDEE3A7903C}" srcOrd="0" destOrd="1" presId="urn:microsoft.com/office/officeart/2005/8/layout/vList4"/>
    <dgm:cxn modelId="{5EF46F17-15F0-443C-B44D-262BA491C26E}" type="presOf" srcId="{42044A57-D2E3-43AE-AB40-5CCF3234C12B}" destId="{5A922C9D-894B-4011-9103-9B4F5E0AC408}" srcOrd="0" destOrd="1" presId="urn:microsoft.com/office/officeart/2005/8/layout/vList4"/>
    <dgm:cxn modelId="{B51D2230-2D67-467B-B629-CE1F1FBE0C40}" srcId="{C0BD80EF-516E-4965-8596-D5EEF98F2E9F}" destId="{EA501946-49C0-49AC-AAF3-4ACA247905EE}" srcOrd="2" destOrd="0" parTransId="{39A9792A-D765-48AA-BBB3-E820BA200B69}" sibTransId="{F5F247A5-BB9E-4F88-B776-E4FE637577C8}"/>
    <dgm:cxn modelId="{B40DE33F-A963-4439-B30C-C96B84416EEC}" srcId="{AD1EF080-B712-4C94-85C9-2834E4FF9B85}" destId="{C0BD80EF-516E-4965-8596-D5EEF98F2E9F}" srcOrd="0" destOrd="0" parTransId="{95CAE099-72CF-41C3-B335-6EF12300DE6B}" sibTransId="{776898F0-7A36-4D08-AB68-59D68AFDE7EF}"/>
    <dgm:cxn modelId="{98D4C65B-4512-4354-94CE-715E2A9E80C5}" type="presOf" srcId="{C0BD80EF-516E-4965-8596-D5EEF98F2E9F}" destId="{2295B81D-0A71-493C-A892-3B2FE31F2F68}" srcOrd="1" destOrd="0" presId="urn:microsoft.com/office/officeart/2005/8/layout/vList4"/>
    <dgm:cxn modelId="{41736643-436C-4DFE-B8E8-5DD556644B3D}" type="presOf" srcId="{EA501946-49C0-49AC-AAF3-4ACA247905EE}" destId="{2295B81D-0A71-493C-A892-3B2FE31F2F68}" srcOrd="1" destOrd="3" presId="urn:microsoft.com/office/officeart/2005/8/layout/vList4"/>
    <dgm:cxn modelId="{8D195944-8BA0-47B4-8DDA-0C2AC0A3BFE1}" srcId="{AD1EF080-B712-4C94-85C9-2834E4FF9B85}" destId="{678DC6DB-4AD4-40FD-87CA-D35469FAE753}" srcOrd="1" destOrd="0" parTransId="{465E9505-E8C1-48B3-98A1-AB2F881D6107}" sibTransId="{48E28AD3-5866-4ACC-B67D-796764C2FCC8}"/>
    <dgm:cxn modelId="{0685664B-E2A5-47F6-AD4F-D29730E83867}" type="presOf" srcId="{03ABC338-0266-46C3-AB82-4465ECD5DA08}" destId="{2295B81D-0A71-493C-A892-3B2FE31F2F68}" srcOrd="1" destOrd="2" presId="urn:microsoft.com/office/officeart/2005/8/layout/vList4"/>
    <dgm:cxn modelId="{DB2D6753-0118-478D-AF11-4E42971A7ACE}" srcId="{AD1EF080-B712-4C94-85C9-2834E4FF9B85}" destId="{3A942E62-C9E8-42F2-AD40-530203837BD3}" srcOrd="2" destOrd="0" parTransId="{9AB1F3AD-A7E8-4CA1-ADC4-B87F540A80E2}" sibTransId="{419199C9-AD27-4111-AF5E-1CEF69744FB0}"/>
    <dgm:cxn modelId="{AEE9DE58-F83C-485B-821F-DFF65C18E2A2}" type="presOf" srcId="{C6952881-4FF1-40AA-8B04-9EA2F7EC0DC3}" destId="{B2BC688B-E02D-4509-AD6B-A49D921D9DB5}" srcOrd="1" destOrd="1" presId="urn:microsoft.com/office/officeart/2005/8/layout/vList4"/>
    <dgm:cxn modelId="{82337359-81C8-45B4-B1D6-F243D0662675}" type="presOf" srcId="{1679867D-70BE-46EE-ADC4-3DE3CE43E727}" destId="{B2BC688B-E02D-4509-AD6B-A49D921D9DB5}" srcOrd="1" destOrd="2" presId="urn:microsoft.com/office/officeart/2005/8/layout/vList4"/>
    <dgm:cxn modelId="{09C2369C-BC80-4B7A-AF49-B3C7614B2C98}" type="presOf" srcId="{C0BD80EF-516E-4965-8596-D5EEF98F2E9F}" destId="{B968F335-70E9-4503-B1BF-3EDEE3A7903C}" srcOrd="0" destOrd="0" presId="urn:microsoft.com/office/officeart/2005/8/layout/vList4"/>
    <dgm:cxn modelId="{14731D9F-DD98-4E8E-A4E9-E10D95DD8497}" srcId="{C0BD80EF-516E-4965-8596-D5EEF98F2E9F}" destId="{C9D7CCCF-8901-492E-9138-770E690307E3}" srcOrd="0" destOrd="0" parTransId="{663D2215-7CD9-49E0-8230-3DD8D5381033}" sibTransId="{FAD38596-6135-4511-8800-1889A3CA91B0}"/>
    <dgm:cxn modelId="{EAEA93A3-6A9E-4338-A780-9A158343E2F8}" type="presOf" srcId="{AD1EF080-B712-4C94-85C9-2834E4FF9B85}" destId="{B7EC54BA-764F-427A-BA07-55B38A572B8D}" srcOrd="0" destOrd="0" presId="urn:microsoft.com/office/officeart/2005/8/layout/vList4"/>
    <dgm:cxn modelId="{68BAB4A4-1D5D-4561-8DD7-489BC711C24D}" type="presOf" srcId="{678DC6DB-4AD4-40FD-87CA-D35469FAE753}" destId="{4B49AA85-8556-481E-9710-1782948917FA}" srcOrd="0" destOrd="0" presId="urn:microsoft.com/office/officeart/2005/8/layout/vList4"/>
    <dgm:cxn modelId="{F5BAC2B3-4FC8-462D-933E-0C675F83520B}" type="presOf" srcId="{3A942E62-C9E8-42F2-AD40-530203837BD3}" destId="{B08B2A89-0196-41CE-83D6-E808F3ADB916}" srcOrd="1" destOrd="0" presId="urn:microsoft.com/office/officeart/2005/8/layout/vList4"/>
    <dgm:cxn modelId="{55093DB9-A006-4A6F-9EF8-211316B9890D}" type="presOf" srcId="{3A942E62-C9E8-42F2-AD40-530203837BD3}" destId="{5A922C9D-894B-4011-9103-9B4F5E0AC408}" srcOrd="0" destOrd="0" presId="urn:microsoft.com/office/officeart/2005/8/layout/vList4"/>
    <dgm:cxn modelId="{F0D4E5BD-8F0F-48E4-8EF9-E0E0AA045D9D}" type="presOf" srcId="{03ABC338-0266-46C3-AB82-4465ECD5DA08}" destId="{B968F335-70E9-4503-B1BF-3EDEE3A7903C}" srcOrd="0" destOrd="2" presId="urn:microsoft.com/office/officeart/2005/8/layout/vList4"/>
    <dgm:cxn modelId="{93E879BE-9813-4FE9-95A4-2C62E126336F}" type="presOf" srcId="{42044A57-D2E3-43AE-AB40-5CCF3234C12B}" destId="{B08B2A89-0196-41CE-83D6-E808F3ADB916}" srcOrd="1" destOrd="1" presId="urn:microsoft.com/office/officeart/2005/8/layout/vList4"/>
    <dgm:cxn modelId="{F437A1D6-D6DA-495C-80E9-FC56FE9B5C46}" type="presOf" srcId="{C9D7CCCF-8901-492E-9138-770E690307E3}" destId="{2295B81D-0A71-493C-A892-3B2FE31F2F68}" srcOrd="1" destOrd="1" presId="urn:microsoft.com/office/officeart/2005/8/layout/vList4"/>
    <dgm:cxn modelId="{02CB16D7-DA1E-4C60-976A-C2102DC3185B}" type="presOf" srcId="{C6952881-4FF1-40AA-8B04-9EA2F7EC0DC3}" destId="{4B49AA85-8556-481E-9710-1782948917FA}" srcOrd="0" destOrd="1" presId="urn:microsoft.com/office/officeart/2005/8/layout/vList4"/>
    <dgm:cxn modelId="{35E075D8-DC24-4809-ADEF-31DAE6491C3E}" type="presOf" srcId="{678DC6DB-4AD4-40FD-87CA-D35469FAE753}" destId="{B2BC688B-E02D-4509-AD6B-A49D921D9DB5}" srcOrd="1" destOrd="0" presId="urn:microsoft.com/office/officeart/2005/8/layout/vList4"/>
    <dgm:cxn modelId="{006FE8E8-D79A-4F8B-A15E-410066B0830E}" srcId="{3A942E62-C9E8-42F2-AD40-530203837BD3}" destId="{42044A57-D2E3-43AE-AB40-5CCF3234C12B}" srcOrd="0" destOrd="0" parTransId="{8C61A41F-1712-4F9B-8CF1-A9104FB0BE9E}" sibTransId="{AE112D65-0A01-47B1-A666-94381A85DB70}"/>
    <dgm:cxn modelId="{C8588FEB-A59B-45F3-BA02-AF7B69333481}" type="presOf" srcId="{1679867D-70BE-46EE-ADC4-3DE3CE43E727}" destId="{4B49AA85-8556-481E-9710-1782948917FA}" srcOrd="0" destOrd="2" presId="urn:microsoft.com/office/officeart/2005/8/layout/vList4"/>
    <dgm:cxn modelId="{95038FFE-A20B-444B-B9B6-3538233D206B}" type="presParOf" srcId="{B7EC54BA-764F-427A-BA07-55B38A572B8D}" destId="{4B02A86E-AE0F-45CB-BDB1-9A589A39A013}" srcOrd="0" destOrd="0" presId="urn:microsoft.com/office/officeart/2005/8/layout/vList4"/>
    <dgm:cxn modelId="{2A6DD9C1-4726-479B-955C-8443F1B72400}" type="presParOf" srcId="{4B02A86E-AE0F-45CB-BDB1-9A589A39A013}" destId="{B968F335-70E9-4503-B1BF-3EDEE3A7903C}" srcOrd="0" destOrd="0" presId="urn:microsoft.com/office/officeart/2005/8/layout/vList4"/>
    <dgm:cxn modelId="{C15830BA-8176-465C-9964-FD5E62ADF607}" type="presParOf" srcId="{4B02A86E-AE0F-45CB-BDB1-9A589A39A013}" destId="{C78BC5B7-8F94-48B4-B8FF-27B36C86994A}" srcOrd="1" destOrd="0" presId="urn:microsoft.com/office/officeart/2005/8/layout/vList4"/>
    <dgm:cxn modelId="{9972A39B-DB5F-4AB2-9C63-311C445E3EA3}" type="presParOf" srcId="{4B02A86E-AE0F-45CB-BDB1-9A589A39A013}" destId="{2295B81D-0A71-493C-A892-3B2FE31F2F68}" srcOrd="2" destOrd="0" presId="urn:microsoft.com/office/officeart/2005/8/layout/vList4"/>
    <dgm:cxn modelId="{76C955FF-9119-4B2D-B8F4-05ED95E144AB}" type="presParOf" srcId="{B7EC54BA-764F-427A-BA07-55B38A572B8D}" destId="{19FFFDD4-930A-43A7-8065-CC01AD90C061}" srcOrd="1" destOrd="0" presId="urn:microsoft.com/office/officeart/2005/8/layout/vList4"/>
    <dgm:cxn modelId="{35480809-A2F4-4F90-953D-41242FE7B4FB}" type="presParOf" srcId="{B7EC54BA-764F-427A-BA07-55B38A572B8D}" destId="{12E43313-C7D0-4FCA-A231-117C4C3302CA}" srcOrd="2" destOrd="0" presId="urn:microsoft.com/office/officeart/2005/8/layout/vList4"/>
    <dgm:cxn modelId="{192B648D-4589-4AC1-B7E6-86C630A53E79}" type="presParOf" srcId="{12E43313-C7D0-4FCA-A231-117C4C3302CA}" destId="{4B49AA85-8556-481E-9710-1782948917FA}" srcOrd="0" destOrd="0" presId="urn:microsoft.com/office/officeart/2005/8/layout/vList4"/>
    <dgm:cxn modelId="{2255BBA4-3178-414B-9B6F-D30099595702}" type="presParOf" srcId="{12E43313-C7D0-4FCA-A231-117C4C3302CA}" destId="{6444A6FD-B210-4F6F-902D-F22E5BD576E3}" srcOrd="1" destOrd="0" presId="urn:microsoft.com/office/officeart/2005/8/layout/vList4"/>
    <dgm:cxn modelId="{26E3C483-3753-42C3-AAC4-891D08D986A2}" type="presParOf" srcId="{12E43313-C7D0-4FCA-A231-117C4C3302CA}" destId="{B2BC688B-E02D-4509-AD6B-A49D921D9DB5}" srcOrd="2" destOrd="0" presId="urn:microsoft.com/office/officeart/2005/8/layout/vList4"/>
    <dgm:cxn modelId="{83F865A6-D5CB-4BA3-9D0D-6FB95BEC81B6}" type="presParOf" srcId="{B7EC54BA-764F-427A-BA07-55B38A572B8D}" destId="{933AFD33-142F-401E-A7EB-F2F2398785BF}" srcOrd="3" destOrd="0" presId="urn:microsoft.com/office/officeart/2005/8/layout/vList4"/>
    <dgm:cxn modelId="{5BFF8208-A42E-4105-AEEF-B219F218DFDC}" type="presParOf" srcId="{B7EC54BA-764F-427A-BA07-55B38A572B8D}" destId="{3ED01F0C-745F-44C9-8792-AC294435C53E}" srcOrd="4" destOrd="0" presId="urn:microsoft.com/office/officeart/2005/8/layout/vList4"/>
    <dgm:cxn modelId="{DD9190CD-0496-46B1-BEF6-28800A889033}" type="presParOf" srcId="{3ED01F0C-745F-44C9-8792-AC294435C53E}" destId="{5A922C9D-894B-4011-9103-9B4F5E0AC408}" srcOrd="0" destOrd="0" presId="urn:microsoft.com/office/officeart/2005/8/layout/vList4"/>
    <dgm:cxn modelId="{3FCA8BC1-BF21-44B9-B0F3-3172D3940C74}" type="presParOf" srcId="{3ED01F0C-745F-44C9-8792-AC294435C53E}" destId="{C0C17F41-BE34-4DA9-9716-F6607A6A1A75}" srcOrd="1" destOrd="0" presId="urn:microsoft.com/office/officeart/2005/8/layout/vList4"/>
    <dgm:cxn modelId="{95B6A895-94FF-4F74-B9B1-FDED117B28DF}" type="presParOf" srcId="{3ED01F0C-745F-44C9-8792-AC294435C53E}" destId="{B08B2A89-0196-41CE-83D6-E808F3ADB916}"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CCA5B7E-21A6-4DC3-AEB6-73C0341295A9}" type="doc">
      <dgm:prSet loTypeId="urn:microsoft.com/office/officeart/2018/2/layout/IconLabelList" loCatId="icon" qsTypeId="urn:microsoft.com/office/officeart/2005/8/quickstyle/simple1" qsCatId="simple" csTypeId="urn:microsoft.com/office/officeart/2018/5/colors/Iconchunking_neutralbg_accent3_2" csCatId="accent3" phldr="1"/>
      <dgm:spPr/>
      <dgm:t>
        <a:bodyPr/>
        <a:lstStyle/>
        <a:p>
          <a:endParaRPr lang="en-US"/>
        </a:p>
      </dgm:t>
    </dgm:pt>
    <dgm:pt modelId="{E795DB93-7A97-450F-98F4-ED1E9136DB97}">
      <dgm:prSet/>
      <dgm:spPr/>
      <dgm:t>
        <a:bodyPr/>
        <a:lstStyle/>
        <a:p>
          <a:endParaRPr lang="en-US"/>
        </a:p>
      </dgm:t>
    </dgm:pt>
    <dgm:pt modelId="{5B8FA836-B932-461E-8FB8-E5B80EA0822F}" type="parTrans" cxnId="{B02DAE81-278C-4C87-851D-4AB83F77BA19}">
      <dgm:prSet/>
      <dgm:spPr/>
      <dgm:t>
        <a:bodyPr/>
        <a:lstStyle/>
        <a:p>
          <a:endParaRPr lang="en-US"/>
        </a:p>
      </dgm:t>
    </dgm:pt>
    <dgm:pt modelId="{A1C8728D-DD21-4CAC-83E7-6F49F6B34D00}" type="sibTrans" cxnId="{B02DAE81-278C-4C87-851D-4AB83F77BA19}">
      <dgm:prSet/>
      <dgm:spPr/>
      <dgm:t>
        <a:bodyPr/>
        <a:lstStyle/>
        <a:p>
          <a:endParaRPr lang="en-US"/>
        </a:p>
      </dgm:t>
    </dgm:pt>
    <dgm:pt modelId="{BC3E89FA-7EB0-443B-BD47-2874110463D1}">
      <dgm:prSet/>
      <dgm:spPr/>
      <dgm:t>
        <a:bodyPr/>
        <a:lstStyle/>
        <a:p>
          <a:endParaRPr lang="en-US"/>
        </a:p>
      </dgm:t>
    </dgm:pt>
    <dgm:pt modelId="{F5ECA796-AC8C-4367-B53F-ED043A12CF37}" type="parTrans" cxnId="{6F2F9A8E-6CC6-421C-8689-74655D4E61B4}">
      <dgm:prSet/>
      <dgm:spPr/>
      <dgm:t>
        <a:bodyPr/>
        <a:lstStyle/>
        <a:p>
          <a:endParaRPr lang="fr-FR"/>
        </a:p>
      </dgm:t>
    </dgm:pt>
    <dgm:pt modelId="{BAC154A6-2BB0-4D15-A9DE-9D86A7EE17BB}" type="sibTrans" cxnId="{6F2F9A8E-6CC6-421C-8689-74655D4E61B4}">
      <dgm:prSet/>
      <dgm:spPr/>
      <dgm:t>
        <a:bodyPr/>
        <a:lstStyle/>
        <a:p>
          <a:endParaRPr lang="fr-FR"/>
        </a:p>
      </dgm:t>
    </dgm:pt>
    <dgm:pt modelId="{1E55ED33-0951-4B2B-A3D5-5EFB734522D4}" type="pres">
      <dgm:prSet presAssocID="{2CCA5B7E-21A6-4DC3-AEB6-73C0341295A9}" presName="root" presStyleCnt="0">
        <dgm:presLayoutVars>
          <dgm:dir/>
          <dgm:resizeHandles val="exact"/>
        </dgm:presLayoutVars>
      </dgm:prSet>
      <dgm:spPr/>
    </dgm:pt>
    <dgm:pt modelId="{04EF81AE-E056-4C69-813F-8CFF24699C00}" type="pres">
      <dgm:prSet presAssocID="{BC3E89FA-7EB0-443B-BD47-2874110463D1}" presName="compNode" presStyleCnt="0"/>
      <dgm:spPr/>
    </dgm:pt>
    <dgm:pt modelId="{F0321EF5-6240-412C-90D1-A1F72BD36BFC}" type="pres">
      <dgm:prSet presAssocID="{BC3E89FA-7EB0-443B-BD47-2874110463D1}" presName="iconRect" presStyleLbl="node1" presStyleIdx="0" presStyleCnt="2" custScaleX="242768" custScaleY="125394" custLinFactX="100000" custLinFactNeighborX="177838" custLinFactNeighborY="-882"/>
      <dgm:spPr>
        <a:blipFill>
          <a:blip xmlns:r="http://schemas.openxmlformats.org/officeDocument/2006/relationships" r:embed="rId1"/>
          <a:srcRect/>
          <a:stretch>
            <a:fillRect t="-22000" b="-22000"/>
          </a:stretch>
        </a:blipFill>
        <a:ln>
          <a:noFill/>
        </a:ln>
      </dgm:spPr>
    </dgm:pt>
    <dgm:pt modelId="{78DF3431-57EE-4E72-8444-73B80518384C}" type="pres">
      <dgm:prSet presAssocID="{BC3E89FA-7EB0-443B-BD47-2874110463D1}" presName="spaceRect" presStyleCnt="0"/>
      <dgm:spPr/>
    </dgm:pt>
    <dgm:pt modelId="{FDCF38BE-2164-4341-8072-A4C837E8DEDD}" type="pres">
      <dgm:prSet presAssocID="{BC3E89FA-7EB0-443B-BD47-2874110463D1}" presName="textRect" presStyleLbl="revTx" presStyleIdx="0" presStyleCnt="2">
        <dgm:presLayoutVars>
          <dgm:chMax val="1"/>
          <dgm:chPref val="1"/>
        </dgm:presLayoutVars>
      </dgm:prSet>
      <dgm:spPr/>
    </dgm:pt>
    <dgm:pt modelId="{6B6B9C5D-AC51-4CA9-BE44-A89B87989477}" type="pres">
      <dgm:prSet presAssocID="{BAC154A6-2BB0-4D15-A9DE-9D86A7EE17BB}" presName="sibTrans" presStyleCnt="0"/>
      <dgm:spPr/>
    </dgm:pt>
    <dgm:pt modelId="{E9491E1C-A07B-4BE9-9851-80ED2972F1A5}" type="pres">
      <dgm:prSet presAssocID="{E795DB93-7A97-450F-98F4-ED1E9136DB97}" presName="compNode" presStyleCnt="0"/>
      <dgm:spPr/>
    </dgm:pt>
    <dgm:pt modelId="{66A3DAA9-DB59-4706-A27B-466FAABE7F09}" type="pres">
      <dgm:prSet presAssocID="{E795DB93-7A97-450F-98F4-ED1E9136DB97}" presName="iconRect" presStyleLbl="node1" presStyleIdx="1" presStyleCnt="2" custScaleX="227873" custScaleY="185427" custLinFactX="-102936" custLinFactNeighborX="-200000" custLinFactNeighborY="2660"/>
      <dgm:spPr>
        <a:blipFill>
          <a:blip xmlns:r="http://schemas.openxmlformats.org/officeDocument/2006/relationships" r:embed="rId2">
            <a:extLst>
              <a:ext uri="{28A0092B-C50C-407E-A947-70E740481C1C}">
                <a14:useLocalDpi xmlns:a14="http://schemas.microsoft.com/office/drawing/2010/main" val="0"/>
              </a:ext>
            </a:extLst>
          </a:blip>
          <a:srcRect/>
          <a:stretch>
            <a:fillRect t="-51000" b="-51000"/>
          </a:stretch>
        </a:blipFill>
        <a:ln>
          <a:noFill/>
        </a:ln>
      </dgm:spPr>
    </dgm:pt>
    <dgm:pt modelId="{C2CD11CD-23CA-4935-BF03-B26B488EAA20}" type="pres">
      <dgm:prSet presAssocID="{E795DB93-7A97-450F-98F4-ED1E9136DB97}" presName="spaceRect" presStyleCnt="0"/>
      <dgm:spPr/>
    </dgm:pt>
    <dgm:pt modelId="{8CFEC6EC-C75B-4D5F-BF78-3A7B6AC37F8F}" type="pres">
      <dgm:prSet presAssocID="{E795DB93-7A97-450F-98F4-ED1E9136DB97}" presName="textRect" presStyleLbl="revTx" presStyleIdx="1" presStyleCnt="2">
        <dgm:presLayoutVars>
          <dgm:chMax val="1"/>
          <dgm:chPref val="1"/>
        </dgm:presLayoutVars>
      </dgm:prSet>
      <dgm:spPr/>
    </dgm:pt>
  </dgm:ptLst>
  <dgm:cxnLst>
    <dgm:cxn modelId="{B02DAE81-278C-4C87-851D-4AB83F77BA19}" srcId="{2CCA5B7E-21A6-4DC3-AEB6-73C0341295A9}" destId="{E795DB93-7A97-450F-98F4-ED1E9136DB97}" srcOrd="1" destOrd="0" parTransId="{5B8FA836-B932-461E-8FB8-E5B80EA0822F}" sibTransId="{A1C8728D-DD21-4CAC-83E7-6F49F6B34D00}"/>
    <dgm:cxn modelId="{6F2F9A8E-6CC6-421C-8689-74655D4E61B4}" srcId="{2CCA5B7E-21A6-4DC3-AEB6-73C0341295A9}" destId="{BC3E89FA-7EB0-443B-BD47-2874110463D1}" srcOrd="0" destOrd="0" parTransId="{F5ECA796-AC8C-4367-B53F-ED043A12CF37}" sibTransId="{BAC154A6-2BB0-4D15-A9DE-9D86A7EE17BB}"/>
    <dgm:cxn modelId="{DAE7ABDC-1BC6-4E9B-9D0E-44F6166AF3D3}" type="presOf" srcId="{E795DB93-7A97-450F-98F4-ED1E9136DB97}" destId="{8CFEC6EC-C75B-4D5F-BF78-3A7B6AC37F8F}" srcOrd="0" destOrd="0" presId="urn:microsoft.com/office/officeart/2018/2/layout/IconLabelList"/>
    <dgm:cxn modelId="{90C15CF0-C55A-4F21-875D-8C88CA0A4FC4}" type="presOf" srcId="{BC3E89FA-7EB0-443B-BD47-2874110463D1}" destId="{FDCF38BE-2164-4341-8072-A4C837E8DEDD}" srcOrd="0" destOrd="0" presId="urn:microsoft.com/office/officeart/2018/2/layout/IconLabelList"/>
    <dgm:cxn modelId="{DE1808F8-0DF3-4D2C-88AB-8EA1546BE934}" type="presOf" srcId="{2CCA5B7E-21A6-4DC3-AEB6-73C0341295A9}" destId="{1E55ED33-0951-4B2B-A3D5-5EFB734522D4}" srcOrd="0" destOrd="0" presId="urn:microsoft.com/office/officeart/2018/2/layout/IconLabelList"/>
    <dgm:cxn modelId="{789346D2-EF75-47A0-B7F5-FA43B0EFEB62}" type="presParOf" srcId="{1E55ED33-0951-4B2B-A3D5-5EFB734522D4}" destId="{04EF81AE-E056-4C69-813F-8CFF24699C00}" srcOrd="0" destOrd="0" presId="urn:microsoft.com/office/officeart/2018/2/layout/IconLabelList"/>
    <dgm:cxn modelId="{A2618B07-1655-4735-A7DD-FA5E841110E7}" type="presParOf" srcId="{04EF81AE-E056-4C69-813F-8CFF24699C00}" destId="{F0321EF5-6240-412C-90D1-A1F72BD36BFC}" srcOrd="0" destOrd="0" presId="urn:microsoft.com/office/officeart/2018/2/layout/IconLabelList"/>
    <dgm:cxn modelId="{2FF1BF77-0435-44DF-A069-5AE34F494906}" type="presParOf" srcId="{04EF81AE-E056-4C69-813F-8CFF24699C00}" destId="{78DF3431-57EE-4E72-8444-73B80518384C}" srcOrd="1" destOrd="0" presId="urn:microsoft.com/office/officeart/2018/2/layout/IconLabelList"/>
    <dgm:cxn modelId="{464FA663-9555-45EE-A10B-A6979ECDBB5A}" type="presParOf" srcId="{04EF81AE-E056-4C69-813F-8CFF24699C00}" destId="{FDCF38BE-2164-4341-8072-A4C837E8DEDD}" srcOrd="2" destOrd="0" presId="urn:microsoft.com/office/officeart/2018/2/layout/IconLabelList"/>
    <dgm:cxn modelId="{A92DAC12-0A8F-478C-9071-FCB3D1CF2980}" type="presParOf" srcId="{1E55ED33-0951-4B2B-A3D5-5EFB734522D4}" destId="{6B6B9C5D-AC51-4CA9-BE44-A89B87989477}" srcOrd="1" destOrd="0" presId="urn:microsoft.com/office/officeart/2018/2/layout/IconLabelList"/>
    <dgm:cxn modelId="{60D5292A-C524-4DF4-AADE-B3151894724B}" type="presParOf" srcId="{1E55ED33-0951-4B2B-A3D5-5EFB734522D4}" destId="{E9491E1C-A07B-4BE9-9851-80ED2972F1A5}" srcOrd="2" destOrd="0" presId="urn:microsoft.com/office/officeart/2018/2/layout/IconLabelList"/>
    <dgm:cxn modelId="{0EA62072-EA38-4239-94A6-127C11AD6FD9}" type="presParOf" srcId="{E9491E1C-A07B-4BE9-9851-80ED2972F1A5}" destId="{66A3DAA9-DB59-4706-A27B-466FAABE7F09}" srcOrd="0" destOrd="0" presId="urn:microsoft.com/office/officeart/2018/2/layout/IconLabelList"/>
    <dgm:cxn modelId="{AE2ECE8F-1624-4790-A64F-1E3F702AA623}" type="presParOf" srcId="{E9491E1C-A07B-4BE9-9851-80ED2972F1A5}" destId="{C2CD11CD-23CA-4935-BF03-B26B488EAA20}" srcOrd="1" destOrd="0" presId="urn:microsoft.com/office/officeart/2018/2/layout/IconLabelList"/>
    <dgm:cxn modelId="{4C057801-5681-4B03-AE78-8BAD5089009A}" type="presParOf" srcId="{E9491E1C-A07B-4BE9-9851-80ED2972F1A5}" destId="{8CFEC6EC-C75B-4D5F-BF78-3A7B6AC37F8F}"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CCA5B7E-21A6-4DC3-AEB6-73C0341295A9}" type="doc">
      <dgm:prSet loTypeId="urn:microsoft.com/office/officeart/2018/2/layout/IconLabelList" loCatId="icon" qsTypeId="urn:microsoft.com/office/officeart/2005/8/quickstyle/simple1" qsCatId="simple" csTypeId="urn:microsoft.com/office/officeart/2018/5/colors/Iconchunking_neutralbg_colorful2" csCatId="colorful" phldr="1"/>
      <dgm:spPr/>
      <dgm:t>
        <a:bodyPr/>
        <a:lstStyle/>
        <a:p>
          <a:endParaRPr lang="en-US"/>
        </a:p>
      </dgm:t>
    </dgm:pt>
    <dgm:pt modelId="{E795DB93-7A97-450F-98F4-ED1E9136DB97}">
      <dgm:prSet/>
      <dgm:spPr/>
      <dgm:t>
        <a:bodyPr/>
        <a:lstStyle/>
        <a:p>
          <a:endParaRPr lang="en-US"/>
        </a:p>
      </dgm:t>
    </dgm:pt>
    <dgm:pt modelId="{5B8FA836-B932-461E-8FB8-E5B80EA0822F}" type="parTrans" cxnId="{B02DAE81-278C-4C87-851D-4AB83F77BA19}">
      <dgm:prSet/>
      <dgm:spPr/>
      <dgm:t>
        <a:bodyPr/>
        <a:lstStyle/>
        <a:p>
          <a:endParaRPr lang="en-US"/>
        </a:p>
      </dgm:t>
    </dgm:pt>
    <dgm:pt modelId="{A1C8728D-DD21-4CAC-83E7-6F49F6B34D00}" type="sibTrans" cxnId="{B02DAE81-278C-4C87-851D-4AB83F77BA19}">
      <dgm:prSet/>
      <dgm:spPr/>
      <dgm:t>
        <a:bodyPr/>
        <a:lstStyle/>
        <a:p>
          <a:endParaRPr lang="en-US"/>
        </a:p>
      </dgm:t>
    </dgm:pt>
    <dgm:pt modelId="{C1E51F19-9EB4-4BFA-9965-31A70CF860D2}">
      <dgm:prSet/>
      <dgm:spPr/>
      <dgm:t>
        <a:bodyPr/>
        <a:lstStyle/>
        <a:p>
          <a:endParaRPr lang="en-US"/>
        </a:p>
      </dgm:t>
    </dgm:pt>
    <dgm:pt modelId="{4B84D0E7-894C-4089-9E92-AB79AF63F277}" type="parTrans" cxnId="{6C5E4B9F-D674-45F3-AA7C-E485FF4F2786}">
      <dgm:prSet/>
      <dgm:spPr/>
      <dgm:t>
        <a:bodyPr/>
        <a:lstStyle/>
        <a:p>
          <a:endParaRPr lang="en-US"/>
        </a:p>
      </dgm:t>
    </dgm:pt>
    <dgm:pt modelId="{B70D632C-0E88-46DE-AEEF-23B4995490BB}" type="sibTrans" cxnId="{6C5E4B9F-D674-45F3-AA7C-E485FF4F2786}">
      <dgm:prSet/>
      <dgm:spPr/>
      <dgm:t>
        <a:bodyPr/>
        <a:lstStyle/>
        <a:p>
          <a:endParaRPr lang="en-US"/>
        </a:p>
      </dgm:t>
    </dgm:pt>
    <dgm:pt modelId="{1E55ED33-0951-4B2B-A3D5-5EFB734522D4}" type="pres">
      <dgm:prSet presAssocID="{2CCA5B7E-21A6-4DC3-AEB6-73C0341295A9}" presName="root" presStyleCnt="0">
        <dgm:presLayoutVars>
          <dgm:dir/>
          <dgm:resizeHandles val="exact"/>
        </dgm:presLayoutVars>
      </dgm:prSet>
      <dgm:spPr/>
    </dgm:pt>
    <dgm:pt modelId="{E9491E1C-A07B-4BE9-9851-80ED2972F1A5}" type="pres">
      <dgm:prSet presAssocID="{E795DB93-7A97-450F-98F4-ED1E9136DB97}" presName="compNode" presStyleCnt="0"/>
      <dgm:spPr/>
    </dgm:pt>
    <dgm:pt modelId="{66A3DAA9-DB59-4706-A27B-466FAABE7F09}" type="pres">
      <dgm:prSet presAssocID="{E795DB93-7A97-450F-98F4-ED1E9136DB97}" presName="iconRect" presStyleLbl="node1" presStyleIdx="0" presStyleCnt="2" custScaleX="204527" custScaleY="210052" custLinFactNeighborX="-28913" custLinFactNeighborY="863"/>
      <dgm:spPr>
        <a:blipFill>
          <a:blip xmlns:r="http://schemas.openxmlformats.org/officeDocument/2006/relationships" r:embed="rId1"/>
          <a:srcRect/>
          <a:stretch>
            <a:fillRect l="-40000" r="-40000"/>
          </a:stretch>
        </a:blipFill>
        <a:ln>
          <a:noFill/>
        </a:ln>
      </dgm:spPr>
    </dgm:pt>
    <dgm:pt modelId="{C2CD11CD-23CA-4935-BF03-B26B488EAA20}" type="pres">
      <dgm:prSet presAssocID="{E795DB93-7A97-450F-98F4-ED1E9136DB97}" presName="spaceRect" presStyleCnt="0"/>
      <dgm:spPr/>
    </dgm:pt>
    <dgm:pt modelId="{8CFEC6EC-C75B-4D5F-BF78-3A7B6AC37F8F}" type="pres">
      <dgm:prSet presAssocID="{E795DB93-7A97-450F-98F4-ED1E9136DB97}" presName="textRect" presStyleLbl="revTx" presStyleIdx="0" presStyleCnt="2">
        <dgm:presLayoutVars>
          <dgm:chMax val="1"/>
          <dgm:chPref val="1"/>
        </dgm:presLayoutVars>
      </dgm:prSet>
      <dgm:spPr/>
    </dgm:pt>
    <dgm:pt modelId="{A534A6A3-6FED-4FC9-93D3-56D82216C7D0}" type="pres">
      <dgm:prSet presAssocID="{A1C8728D-DD21-4CAC-83E7-6F49F6B34D00}" presName="sibTrans" presStyleCnt="0"/>
      <dgm:spPr/>
    </dgm:pt>
    <dgm:pt modelId="{1EEB9D7E-5DEB-40EC-8DD9-776DDE6FFF80}" type="pres">
      <dgm:prSet presAssocID="{C1E51F19-9EB4-4BFA-9965-31A70CF860D2}" presName="compNode" presStyleCnt="0"/>
      <dgm:spPr/>
    </dgm:pt>
    <dgm:pt modelId="{36F343E4-A148-4814-80CB-87DAED571C9A}" type="pres">
      <dgm:prSet presAssocID="{C1E51F19-9EB4-4BFA-9965-31A70CF860D2}" presName="iconRect" presStyleLbl="node1" presStyleIdx="1" presStyleCnt="2" custScaleX="297845" custScaleY="208866" custLinFactNeighborX="-17261" custLinFactNeighborY="10698"/>
      <dgm:spPr>
        <a:blipFill>
          <a:blip xmlns:r="http://schemas.openxmlformats.org/officeDocument/2006/relationships" r:embed="rId2"/>
          <a:srcRect/>
          <a:stretch>
            <a:fillRect t="-19000" b="-19000"/>
          </a:stretch>
        </a:blipFill>
        <a:ln>
          <a:noFill/>
        </a:ln>
      </dgm:spPr>
    </dgm:pt>
    <dgm:pt modelId="{701675BD-9CB4-4207-9086-136ED0A7226E}" type="pres">
      <dgm:prSet presAssocID="{C1E51F19-9EB4-4BFA-9965-31A70CF860D2}" presName="spaceRect" presStyleCnt="0"/>
      <dgm:spPr/>
    </dgm:pt>
    <dgm:pt modelId="{49798EB1-FC90-4757-94C7-B1833DF5E1FC}" type="pres">
      <dgm:prSet presAssocID="{C1E51F19-9EB4-4BFA-9965-31A70CF860D2}" presName="textRect" presStyleLbl="revTx" presStyleIdx="1" presStyleCnt="2">
        <dgm:presLayoutVars>
          <dgm:chMax val="1"/>
          <dgm:chPref val="1"/>
        </dgm:presLayoutVars>
      </dgm:prSet>
      <dgm:spPr/>
    </dgm:pt>
  </dgm:ptLst>
  <dgm:cxnLst>
    <dgm:cxn modelId="{A25F8523-40B1-47DB-8627-56E8B6BBAFEE}" type="presOf" srcId="{C1E51F19-9EB4-4BFA-9965-31A70CF860D2}" destId="{49798EB1-FC90-4757-94C7-B1833DF5E1FC}" srcOrd="0" destOrd="0" presId="urn:microsoft.com/office/officeart/2018/2/layout/IconLabelList"/>
    <dgm:cxn modelId="{B02DAE81-278C-4C87-851D-4AB83F77BA19}" srcId="{2CCA5B7E-21A6-4DC3-AEB6-73C0341295A9}" destId="{E795DB93-7A97-450F-98F4-ED1E9136DB97}" srcOrd="0" destOrd="0" parTransId="{5B8FA836-B932-461E-8FB8-E5B80EA0822F}" sibTransId="{A1C8728D-DD21-4CAC-83E7-6F49F6B34D00}"/>
    <dgm:cxn modelId="{6C5E4B9F-D674-45F3-AA7C-E485FF4F2786}" srcId="{2CCA5B7E-21A6-4DC3-AEB6-73C0341295A9}" destId="{C1E51F19-9EB4-4BFA-9965-31A70CF860D2}" srcOrd="1" destOrd="0" parTransId="{4B84D0E7-894C-4089-9E92-AB79AF63F277}" sibTransId="{B70D632C-0E88-46DE-AEEF-23B4995490BB}"/>
    <dgm:cxn modelId="{DAE7ABDC-1BC6-4E9B-9D0E-44F6166AF3D3}" type="presOf" srcId="{E795DB93-7A97-450F-98F4-ED1E9136DB97}" destId="{8CFEC6EC-C75B-4D5F-BF78-3A7B6AC37F8F}" srcOrd="0" destOrd="0" presId="urn:microsoft.com/office/officeart/2018/2/layout/IconLabelList"/>
    <dgm:cxn modelId="{DE1808F8-0DF3-4D2C-88AB-8EA1546BE934}" type="presOf" srcId="{2CCA5B7E-21A6-4DC3-AEB6-73C0341295A9}" destId="{1E55ED33-0951-4B2B-A3D5-5EFB734522D4}" srcOrd="0" destOrd="0" presId="urn:microsoft.com/office/officeart/2018/2/layout/IconLabelList"/>
    <dgm:cxn modelId="{60D5292A-C524-4DF4-AADE-B3151894724B}" type="presParOf" srcId="{1E55ED33-0951-4B2B-A3D5-5EFB734522D4}" destId="{E9491E1C-A07B-4BE9-9851-80ED2972F1A5}" srcOrd="0" destOrd="0" presId="urn:microsoft.com/office/officeart/2018/2/layout/IconLabelList"/>
    <dgm:cxn modelId="{0EA62072-EA38-4239-94A6-127C11AD6FD9}" type="presParOf" srcId="{E9491E1C-A07B-4BE9-9851-80ED2972F1A5}" destId="{66A3DAA9-DB59-4706-A27B-466FAABE7F09}" srcOrd="0" destOrd="0" presId="urn:microsoft.com/office/officeart/2018/2/layout/IconLabelList"/>
    <dgm:cxn modelId="{AE2ECE8F-1624-4790-A64F-1E3F702AA623}" type="presParOf" srcId="{E9491E1C-A07B-4BE9-9851-80ED2972F1A5}" destId="{C2CD11CD-23CA-4935-BF03-B26B488EAA20}" srcOrd="1" destOrd="0" presId="urn:microsoft.com/office/officeart/2018/2/layout/IconLabelList"/>
    <dgm:cxn modelId="{4C057801-5681-4B03-AE78-8BAD5089009A}" type="presParOf" srcId="{E9491E1C-A07B-4BE9-9851-80ED2972F1A5}" destId="{8CFEC6EC-C75B-4D5F-BF78-3A7B6AC37F8F}" srcOrd="2" destOrd="0" presId="urn:microsoft.com/office/officeart/2018/2/layout/IconLabelList"/>
    <dgm:cxn modelId="{A20AF26A-9EA8-4652-A8EE-4D0C4A5F920F}" type="presParOf" srcId="{1E55ED33-0951-4B2B-A3D5-5EFB734522D4}" destId="{A534A6A3-6FED-4FC9-93D3-56D82216C7D0}" srcOrd="1" destOrd="0" presId="urn:microsoft.com/office/officeart/2018/2/layout/IconLabelList"/>
    <dgm:cxn modelId="{3C602942-FA68-466C-915D-4C4FBC7BE76C}" type="presParOf" srcId="{1E55ED33-0951-4B2B-A3D5-5EFB734522D4}" destId="{1EEB9D7E-5DEB-40EC-8DD9-776DDE6FFF80}" srcOrd="2" destOrd="0" presId="urn:microsoft.com/office/officeart/2018/2/layout/IconLabelList"/>
    <dgm:cxn modelId="{88C31D1C-8E1C-42D7-A58D-A60E81EB67F0}" type="presParOf" srcId="{1EEB9D7E-5DEB-40EC-8DD9-776DDE6FFF80}" destId="{36F343E4-A148-4814-80CB-87DAED571C9A}" srcOrd="0" destOrd="0" presId="urn:microsoft.com/office/officeart/2018/2/layout/IconLabelList"/>
    <dgm:cxn modelId="{0F9226BA-3AA4-4CC7-B897-1F2FC89799B5}" type="presParOf" srcId="{1EEB9D7E-5DEB-40EC-8DD9-776DDE6FFF80}" destId="{701675BD-9CB4-4207-9086-136ED0A7226E}" srcOrd="1" destOrd="0" presId="urn:microsoft.com/office/officeart/2018/2/layout/IconLabelList"/>
    <dgm:cxn modelId="{6B92DCCB-BE64-4226-B3CB-5DE85D0F18C6}" type="presParOf" srcId="{1EEB9D7E-5DEB-40EC-8DD9-776DDE6FFF80}" destId="{49798EB1-FC90-4757-94C7-B1833DF5E1FC}"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CCA5B7E-21A6-4DC3-AEB6-73C0341295A9}"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795DB93-7A97-450F-98F4-ED1E9136DB97}">
      <dgm:prSet/>
      <dgm:spPr/>
      <dgm:t>
        <a:bodyPr/>
        <a:lstStyle/>
        <a:p>
          <a:pPr>
            <a:lnSpc>
              <a:spcPct val="100000"/>
            </a:lnSpc>
          </a:pPr>
          <a:r>
            <a:rPr lang="en-US"/>
            <a:t>RSI</a:t>
          </a:r>
        </a:p>
      </dgm:t>
    </dgm:pt>
    <dgm:pt modelId="{5B8FA836-B932-461E-8FB8-E5B80EA0822F}" type="parTrans" cxnId="{B02DAE81-278C-4C87-851D-4AB83F77BA19}">
      <dgm:prSet/>
      <dgm:spPr/>
      <dgm:t>
        <a:bodyPr/>
        <a:lstStyle/>
        <a:p>
          <a:endParaRPr lang="en-US"/>
        </a:p>
      </dgm:t>
    </dgm:pt>
    <dgm:pt modelId="{A1C8728D-DD21-4CAC-83E7-6F49F6B34D00}" type="sibTrans" cxnId="{B02DAE81-278C-4C87-851D-4AB83F77BA19}">
      <dgm:prSet/>
      <dgm:spPr/>
      <dgm:t>
        <a:bodyPr/>
        <a:lstStyle/>
        <a:p>
          <a:endParaRPr lang="en-US"/>
        </a:p>
      </dgm:t>
    </dgm:pt>
    <dgm:pt modelId="{C1E51F19-9EB4-4BFA-9965-31A70CF860D2}">
      <dgm:prSet/>
      <dgm:spPr/>
      <dgm:t>
        <a:bodyPr/>
        <a:lstStyle/>
        <a:p>
          <a:pPr>
            <a:lnSpc>
              <a:spcPct val="100000"/>
            </a:lnSpc>
          </a:pPr>
          <a:r>
            <a:rPr lang="en-US"/>
            <a:t>PM</a:t>
          </a:r>
        </a:p>
      </dgm:t>
    </dgm:pt>
    <dgm:pt modelId="{4B84D0E7-894C-4089-9E92-AB79AF63F277}" type="parTrans" cxnId="{6C5E4B9F-D674-45F3-AA7C-E485FF4F2786}">
      <dgm:prSet/>
      <dgm:spPr/>
      <dgm:t>
        <a:bodyPr/>
        <a:lstStyle/>
        <a:p>
          <a:endParaRPr lang="en-US"/>
        </a:p>
      </dgm:t>
    </dgm:pt>
    <dgm:pt modelId="{B70D632C-0E88-46DE-AEEF-23B4995490BB}" type="sibTrans" cxnId="{6C5E4B9F-D674-45F3-AA7C-E485FF4F2786}">
      <dgm:prSet/>
      <dgm:spPr/>
      <dgm:t>
        <a:bodyPr/>
        <a:lstStyle/>
        <a:p>
          <a:endParaRPr lang="en-US"/>
        </a:p>
      </dgm:t>
    </dgm:pt>
    <dgm:pt modelId="{0AF1DCE9-DD45-416D-8003-AC5D78D5BAFA}">
      <dgm:prSet/>
      <dgm:spPr/>
      <dgm:t>
        <a:bodyPr/>
        <a:lstStyle/>
        <a:p>
          <a:pPr>
            <a:lnSpc>
              <a:spcPct val="100000"/>
            </a:lnSpc>
          </a:pPr>
          <a:r>
            <a:rPr lang="en-US"/>
            <a:t>CH</a:t>
          </a:r>
        </a:p>
      </dgm:t>
    </dgm:pt>
    <dgm:pt modelId="{E4EF28A3-0AD4-4F2A-BB6C-ED17B417E18E}" type="parTrans" cxnId="{13B62420-5096-4637-854C-4D03402B2440}">
      <dgm:prSet/>
      <dgm:spPr/>
      <dgm:t>
        <a:bodyPr/>
        <a:lstStyle/>
        <a:p>
          <a:endParaRPr lang="en-US"/>
        </a:p>
      </dgm:t>
    </dgm:pt>
    <dgm:pt modelId="{7EAA1B46-DA16-4570-B431-D462C7EEB0FF}" type="sibTrans" cxnId="{13B62420-5096-4637-854C-4D03402B2440}">
      <dgm:prSet/>
      <dgm:spPr/>
      <dgm:t>
        <a:bodyPr/>
        <a:lstStyle/>
        <a:p>
          <a:endParaRPr lang="en-US"/>
        </a:p>
      </dgm:t>
    </dgm:pt>
    <dgm:pt modelId="{6CCDBD64-427F-4373-BA4C-952766083390}">
      <dgm:prSet/>
      <dgm:spPr/>
      <dgm:t>
        <a:bodyPr/>
        <a:lstStyle/>
        <a:p>
          <a:pPr>
            <a:lnSpc>
              <a:spcPct val="100000"/>
            </a:lnSpc>
          </a:pPr>
          <a:r>
            <a:rPr lang="en-US"/>
            <a:t>P</a:t>
          </a:r>
        </a:p>
      </dgm:t>
    </dgm:pt>
    <dgm:pt modelId="{6198B59E-893D-4AD9-BB34-585FD7DF5C95}" type="parTrans" cxnId="{F0EDFC1E-1230-4F67-BCAB-D1670B3EDD12}">
      <dgm:prSet/>
      <dgm:spPr/>
      <dgm:t>
        <a:bodyPr/>
        <a:lstStyle/>
        <a:p>
          <a:endParaRPr lang="en-US"/>
        </a:p>
      </dgm:t>
    </dgm:pt>
    <dgm:pt modelId="{8CF7D97A-8162-4C17-9C1D-D8CDA4D6C28B}" type="sibTrans" cxnId="{F0EDFC1E-1230-4F67-BCAB-D1670B3EDD12}">
      <dgm:prSet/>
      <dgm:spPr/>
      <dgm:t>
        <a:bodyPr/>
        <a:lstStyle/>
        <a:p>
          <a:endParaRPr lang="en-US"/>
        </a:p>
      </dgm:t>
    </dgm:pt>
    <dgm:pt modelId="{3464EC6E-3C8B-4F61-8F6A-B672EF512605}">
      <dgm:prSet/>
      <dgm:spPr/>
      <dgm:t>
        <a:bodyPr/>
        <a:lstStyle/>
        <a:p>
          <a:pPr>
            <a:lnSpc>
              <a:spcPct val="100000"/>
            </a:lnSpc>
          </a:pPr>
          <a:r>
            <a:rPr lang="en-US"/>
            <a:t>NC</a:t>
          </a:r>
        </a:p>
      </dgm:t>
    </dgm:pt>
    <dgm:pt modelId="{B2935761-C6B7-4EE0-A388-255AA5CFDB56}" type="parTrans" cxnId="{668A13BB-F09E-4AE1-98F6-E8EA4581963A}">
      <dgm:prSet/>
      <dgm:spPr/>
      <dgm:t>
        <a:bodyPr/>
        <a:lstStyle/>
        <a:p>
          <a:endParaRPr lang="fr-FR"/>
        </a:p>
      </dgm:t>
    </dgm:pt>
    <dgm:pt modelId="{F13EEC9A-13B3-46EA-BF66-7C9257DBBD47}" type="sibTrans" cxnId="{668A13BB-F09E-4AE1-98F6-E8EA4581963A}">
      <dgm:prSet/>
      <dgm:spPr/>
      <dgm:t>
        <a:bodyPr/>
        <a:lstStyle/>
        <a:p>
          <a:endParaRPr lang="fr-FR"/>
        </a:p>
      </dgm:t>
    </dgm:pt>
    <dgm:pt modelId="{35BED681-BA9F-4549-A673-B84E70CC3789}">
      <dgm:prSet/>
      <dgm:spPr/>
      <dgm:t>
        <a:bodyPr/>
        <a:lstStyle/>
        <a:p>
          <a:pPr>
            <a:lnSpc>
              <a:spcPct val="100000"/>
            </a:lnSpc>
          </a:pPr>
          <a:r>
            <a:rPr lang="en-US"/>
            <a:t>IBO</a:t>
          </a:r>
        </a:p>
      </dgm:t>
    </dgm:pt>
    <dgm:pt modelId="{56536E88-37A0-4B5A-AF71-6658FA84D09D}" type="parTrans" cxnId="{594E4C53-A9E6-48B9-AB50-2094B707F8D0}">
      <dgm:prSet/>
      <dgm:spPr/>
      <dgm:t>
        <a:bodyPr/>
        <a:lstStyle/>
        <a:p>
          <a:endParaRPr lang="fr-FR"/>
        </a:p>
      </dgm:t>
    </dgm:pt>
    <dgm:pt modelId="{6C916FAC-1BE3-4721-A13C-2A08F3E931D8}" type="sibTrans" cxnId="{594E4C53-A9E6-48B9-AB50-2094B707F8D0}">
      <dgm:prSet/>
      <dgm:spPr/>
      <dgm:t>
        <a:bodyPr/>
        <a:lstStyle/>
        <a:p>
          <a:endParaRPr lang="fr-FR"/>
        </a:p>
      </dgm:t>
    </dgm:pt>
    <dgm:pt modelId="{19FC7265-E1ED-45F3-81AC-355D453EB010}">
      <dgm:prSet/>
      <dgm:spPr/>
      <dgm:t>
        <a:bodyPr/>
        <a:lstStyle/>
        <a:p>
          <a:pPr>
            <a:lnSpc>
              <a:spcPct val="100000"/>
            </a:lnSpc>
          </a:pPr>
          <a:r>
            <a:rPr lang="en-US"/>
            <a:t>SE</a:t>
          </a:r>
        </a:p>
      </dgm:t>
    </dgm:pt>
    <dgm:pt modelId="{17287843-9F1D-4581-871A-FCD539BDC408}" type="parTrans" cxnId="{830CE6BF-9D1E-47C9-B398-0FA64A0C535C}">
      <dgm:prSet/>
      <dgm:spPr/>
      <dgm:t>
        <a:bodyPr/>
        <a:lstStyle/>
        <a:p>
          <a:endParaRPr lang="fr-FR"/>
        </a:p>
      </dgm:t>
    </dgm:pt>
    <dgm:pt modelId="{7F99835C-B843-440F-8524-BA592566ACC3}" type="sibTrans" cxnId="{830CE6BF-9D1E-47C9-B398-0FA64A0C535C}">
      <dgm:prSet/>
      <dgm:spPr/>
      <dgm:t>
        <a:bodyPr/>
        <a:lstStyle/>
        <a:p>
          <a:endParaRPr lang="fr-FR"/>
        </a:p>
      </dgm:t>
    </dgm:pt>
    <dgm:pt modelId="{44D6BCFE-8B81-4F05-A67B-54373C39E30C}" type="pres">
      <dgm:prSet presAssocID="{2CCA5B7E-21A6-4DC3-AEB6-73C0341295A9}" presName="root" presStyleCnt="0">
        <dgm:presLayoutVars>
          <dgm:dir/>
          <dgm:resizeHandles val="exact"/>
        </dgm:presLayoutVars>
      </dgm:prSet>
      <dgm:spPr/>
    </dgm:pt>
    <dgm:pt modelId="{FF28AF1A-0414-4A20-A92A-702B605C54BF}" type="pres">
      <dgm:prSet presAssocID="{E795DB93-7A97-450F-98F4-ED1E9136DB97}" presName="compNode" presStyleCnt="0"/>
      <dgm:spPr/>
    </dgm:pt>
    <dgm:pt modelId="{3303A4E2-85EB-4630-BD42-818D47DD9797}" type="pres">
      <dgm:prSet presAssocID="{E795DB93-7A97-450F-98F4-ED1E9136DB97}" presName="bgRect" presStyleLbl="bgShp" presStyleIdx="0" presStyleCnt="7"/>
      <dgm:spPr/>
    </dgm:pt>
    <dgm:pt modelId="{611F7FAB-4F4E-4299-A891-A5EF5E8257A1}" type="pres">
      <dgm:prSet presAssocID="{E795DB93-7A97-450F-98F4-ED1E9136DB97}"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ptain"/>
        </a:ext>
      </dgm:extLst>
    </dgm:pt>
    <dgm:pt modelId="{09003322-24CE-4BB7-B440-EAEAC94D17B7}" type="pres">
      <dgm:prSet presAssocID="{E795DB93-7A97-450F-98F4-ED1E9136DB97}" presName="spaceRect" presStyleCnt="0"/>
      <dgm:spPr/>
    </dgm:pt>
    <dgm:pt modelId="{30CA80E8-489C-475D-8C18-EF27A6EAB0CE}" type="pres">
      <dgm:prSet presAssocID="{E795DB93-7A97-450F-98F4-ED1E9136DB97}" presName="parTx" presStyleLbl="revTx" presStyleIdx="0" presStyleCnt="7">
        <dgm:presLayoutVars>
          <dgm:chMax val="0"/>
          <dgm:chPref val="0"/>
        </dgm:presLayoutVars>
      </dgm:prSet>
      <dgm:spPr/>
    </dgm:pt>
    <dgm:pt modelId="{F2ED1D8A-D767-40BD-A8C3-846BFD06B1E6}" type="pres">
      <dgm:prSet presAssocID="{A1C8728D-DD21-4CAC-83E7-6F49F6B34D00}" presName="sibTrans" presStyleCnt="0"/>
      <dgm:spPr/>
    </dgm:pt>
    <dgm:pt modelId="{1B09BAB4-E1D0-44B2-A9FD-26A091DB2779}" type="pres">
      <dgm:prSet presAssocID="{C1E51F19-9EB4-4BFA-9965-31A70CF860D2}" presName="compNode" presStyleCnt="0"/>
      <dgm:spPr/>
    </dgm:pt>
    <dgm:pt modelId="{ACE1DEE3-5DBF-4209-BC3F-77153AA21EF0}" type="pres">
      <dgm:prSet presAssocID="{C1E51F19-9EB4-4BFA-9965-31A70CF860D2}" presName="bgRect" presStyleLbl="bgShp" presStyleIdx="1" presStyleCnt="7" custLinFactNeighborX="1487"/>
      <dgm:spPr/>
    </dgm:pt>
    <dgm:pt modelId="{BB8A3268-5C46-4EC8-8F37-82FDEF5DC58A}" type="pres">
      <dgm:prSet presAssocID="{C1E51F19-9EB4-4BFA-9965-31A70CF860D2}"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rker"/>
        </a:ext>
      </dgm:extLst>
    </dgm:pt>
    <dgm:pt modelId="{2E7CD1F5-A64D-444B-9701-92C0A80E3E03}" type="pres">
      <dgm:prSet presAssocID="{C1E51F19-9EB4-4BFA-9965-31A70CF860D2}" presName="spaceRect" presStyleCnt="0"/>
      <dgm:spPr/>
    </dgm:pt>
    <dgm:pt modelId="{570F255B-2A33-413E-BE80-0F29C01AD211}" type="pres">
      <dgm:prSet presAssocID="{C1E51F19-9EB4-4BFA-9965-31A70CF860D2}" presName="parTx" presStyleLbl="revTx" presStyleIdx="1" presStyleCnt="7" custScaleX="100000">
        <dgm:presLayoutVars>
          <dgm:chMax val="0"/>
          <dgm:chPref val="0"/>
        </dgm:presLayoutVars>
      </dgm:prSet>
      <dgm:spPr/>
    </dgm:pt>
    <dgm:pt modelId="{3C9D8046-411B-4C98-B6DE-D892EF1C5A20}" type="pres">
      <dgm:prSet presAssocID="{B70D632C-0E88-46DE-AEEF-23B4995490BB}" presName="sibTrans" presStyleCnt="0"/>
      <dgm:spPr/>
    </dgm:pt>
    <dgm:pt modelId="{B271A64C-F764-4862-BDFC-D7D6F5B85E41}" type="pres">
      <dgm:prSet presAssocID="{0AF1DCE9-DD45-416D-8003-AC5D78D5BAFA}" presName="compNode" presStyleCnt="0"/>
      <dgm:spPr/>
    </dgm:pt>
    <dgm:pt modelId="{F4C39026-A17F-4CD6-AE73-30F790063AA3}" type="pres">
      <dgm:prSet presAssocID="{0AF1DCE9-DD45-416D-8003-AC5D78D5BAFA}" presName="bgRect" presStyleLbl="bgShp" presStyleIdx="2" presStyleCnt="7"/>
      <dgm:spPr/>
    </dgm:pt>
    <dgm:pt modelId="{1BB1DF5A-3E2C-4C21-8D06-13C49A4AB1A3}" type="pres">
      <dgm:prSet presAssocID="{0AF1DCE9-DD45-416D-8003-AC5D78D5BAFA}"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ome"/>
        </a:ext>
      </dgm:extLst>
    </dgm:pt>
    <dgm:pt modelId="{70873AEA-5208-4A10-A0FD-BEC8788DC8E3}" type="pres">
      <dgm:prSet presAssocID="{0AF1DCE9-DD45-416D-8003-AC5D78D5BAFA}" presName="spaceRect" presStyleCnt="0"/>
      <dgm:spPr/>
    </dgm:pt>
    <dgm:pt modelId="{B5589111-C90F-4327-83E7-E170428FC020}" type="pres">
      <dgm:prSet presAssocID="{0AF1DCE9-DD45-416D-8003-AC5D78D5BAFA}" presName="parTx" presStyleLbl="revTx" presStyleIdx="2" presStyleCnt="7">
        <dgm:presLayoutVars>
          <dgm:chMax val="0"/>
          <dgm:chPref val="0"/>
        </dgm:presLayoutVars>
      </dgm:prSet>
      <dgm:spPr/>
    </dgm:pt>
    <dgm:pt modelId="{ECEF6EE0-30F6-4EFB-A4B1-37C95D3FBFFF}" type="pres">
      <dgm:prSet presAssocID="{7EAA1B46-DA16-4570-B431-D462C7EEB0FF}" presName="sibTrans" presStyleCnt="0"/>
      <dgm:spPr/>
    </dgm:pt>
    <dgm:pt modelId="{52581C6C-428A-4A37-9A33-5BA3CA43F662}" type="pres">
      <dgm:prSet presAssocID="{6CCDBD64-427F-4373-BA4C-952766083390}" presName="compNode" presStyleCnt="0"/>
      <dgm:spPr/>
    </dgm:pt>
    <dgm:pt modelId="{37F0C475-4C58-4DA5-BA88-E94F51CC98CB}" type="pres">
      <dgm:prSet presAssocID="{6CCDBD64-427F-4373-BA4C-952766083390}" presName="bgRect" presStyleLbl="bgShp" presStyleIdx="3" presStyleCnt="7" custLinFactNeighborX="1487"/>
      <dgm:spPr/>
    </dgm:pt>
    <dgm:pt modelId="{74714754-D045-4941-932A-78081CCBA8EB}" type="pres">
      <dgm:prSet presAssocID="{6CCDBD64-427F-4373-BA4C-952766083390}"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Téléphone mains libres"/>
        </a:ext>
      </dgm:extLst>
    </dgm:pt>
    <dgm:pt modelId="{1DB95508-24FF-43DD-872A-3FA3DD621603}" type="pres">
      <dgm:prSet presAssocID="{6CCDBD64-427F-4373-BA4C-952766083390}" presName="spaceRect" presStyleCnt="0"/>
      <dgm:spPr/>
    </dgm:pt>
    <dgm:pt modelId="{7B1AC777-8B37-41E6-8B9B-E787B9FE9935}" type="pres">
      <dgm:prSet presAssocID="{6CCDBD64-427F-4373-BA4C-952766083390}" presName="parTx" presStyleLbl="revTx" presStyleIdx="3" presStyleCnt="7">
        <dgm:presLayoutVars>
          <dgm:chMax val="0"/>
          <dgm:chPref val="0"/>
        </dgm:presLayoutVars>
      </dgm:prSet>
      <dgm:spPr/>
    </dgm:pt>
    <dgm:pt modelId="{8DC13348-EC83-4874-AF6B-9944DCE28CEF}" type="pres">
      <dgm:prSet presAssocID="{8CF7D97A-8162-4C17-9C1D-D8CDA4D6C28B}" presName="sibTrans" presStyleCnt="0"/>
      <dgm:spPr/>
    </dgm:pt>
    <dgm:pt modelId="{1E872B3B-0D97-4918-B9E5-0F9F5D6A8A69}" type="pres">
      <dgm:prSet presAssocID="{3464EC6E-3C8B-4F61-8F6A-B672EF512605}" presName="compNode" presStyleCnt="0"/>
      <dgm:spPr/>
    </dgm:pt>
    <dgm:pt modelId="{B3F5ECC9-F47C-4643-8D49-0B497267BDC4}" type="pres">
      <dgm:prSet presAssocID="{3464EC6E-3C8B-4F61-8F6A-B672EF512605}" presName="bgRect" presStyleLbl="bgShp" presStyleIdx="4" presStyleCnt="7"/>
      <dgm:spPr/>
    </dgm:pt>
    <dgm:pt modelId="{F02F4037-266A-437D-9094-0B6BE43220FF}" type="pres">
      <dgm:prSet presAssocID="{3464EC6E-3C8B-4F61-8F6A-B672EF512605}"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Poignée de main"/>
        </a:ext>
      </dgm:extLst>
    </dgm:pt>
    <dgm:pt modelId="{EF65A8A4-EECE-4C03-A840-0C2F5E0D33A4}" type="pres">
      <dgm:prSet presAssocID="{3464EC6E-3C8B-4F61-8F6A-B672EF512605}" presName="spaceRect" presStyleCnt="0"/>
      <dgm:spPr/>
    </dgm:pt>
    <dgm:pt modelId="{7C9A83D0-4362-4306-BBB0-799F5A93163B}" type="pres">
      <dgm:prSet presAssocID="{3464EC6E-3C8B-4F61-8F6A-B672EF512605}" presName="parTx" presStyleLbl="revTx" presStyleIdx="4" presStyleCnt="7">
        <dgm:presLayoutVars>
          <dgm:chMax val="0"/>
          <dgm:chPref val="0"/>
        </dgm:presLayoutVars>
      </dgm:prSet>
      <dgm:spPr/>
    </dgm:pt>
    <dgm:pt modelId="{13467C5D-6E71-4939-ACC7-4E892F348809}" type="pres">
      <dgm:prSet presAssocID="{F13EEC9A-13B3-46EA-BF66-7C9257DBBD47}" presName="sibTrans" presStyleCnt="0"/>
      <dgm:spPr/>
    </dgm:pt>
    <dgm:pt modelId="{75F59C80-F85D-46CE-B87E-2847F61FF0E5}" type="pres">
      <dgm:prSet presAssocID="{35BED681-BA9F-4549-A673-B84E70CC3789}" presName="compNode" presStyleCnt="0"/>
      <dgm:spPr/>
    </dgm:pt>
    <dgm:pt modelId="{80F276E8-A2D9-4597-9B86-6B626CFEEE84}" type="pres">
      <dgm:prSet presAssocID="{35BED681-BA9F-4549-A673-B84E70CC3789}" presName="bgRect" presStyleLbl="bgShp" presStyleIdx="5" presStyleCnt="7"/>
      <dgm:spPr/>
    </dgm:pt>
    <dgm:pt modelId="{FEE41791-8DD4-4DB1-8D78-A7C58F61F763}" type="pres">
      <dgm:prSet presAssocID="{35BED681-BA9F-4549-A673-B84E70CC3789}"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Présentation avec graphique à barres"/>
        </a:ext>
      </dgm:extLst>
    </dgm:pt>
    <dgm:pt modelId="{1564083D-2A58-4406-85A3-C441E78B0222}" type="pres">
      <dgm:prSet presAssocID="{35BED681-BA9F-4549-A673-B84E70CC3789}" presName="spaceRect" presStyleCnt="0"/>
      <dgm:spPr/>
    </dgm:pt>
    <dgm:pt modelId="{D82ABBBD-0CC4-42A7-85C7-9F4D1B14EA8D}" type="pres">
      <dgm:prSet presAssocID="{35BED681-BA9F-4549-A673-B84E70CC3789}" presName="parTx" presStyleLbl="revTx" presStyleIdx="5" presStyleCnt="7">
        <dgm:presLayoutVars>
          <dgm:chMax val="0"/>
          <dgm:chPref val="0"/>
        </dgm:presLayoutVars>
      </dgm:prSet>
      <dgm:spPr/>
    </dgm:pt>
    <dgm:pt modelId="{E4A00E8D-B653-4A61-A848-6506A535A21D}" type="pres">
      <dgm:prSet presAssocID="{6C916FAC-1BE3-4721-A13C-2A08F3E931D8}" presName="sibTrans" presStyleCnt="0"/>
      <dgm:spPr/>
    </dgm:pt>
    <dgm:pt modelId="{76CF32FC-9D48-4C67-B3CA-4AFAC6B07E46}" type="pres">
      <dgm:prSet presAssocID="{19FC7265-E1ED-45F3-81AC-355D453EB010}" presName="compNode" presStyleCnt="0"/>
      <dgm:spPr/>
    </dgm:pt>
    <dgm:pt modelId="{BE2A0ED2-AC81-4C0C-BFC6-DC8DC3720CE6}" type="pres">
      <dgm:prSet presAssocID="{19FC7265-E1ED-45F3-81AC-355D453EB010}" presName="bgRect" presStyleLbl="bgShp" presStyleIdx="6" presStyleCnt="7"/>
      <dgm:spPr/>
    </dgm:pt>
    <dgm:pt modelId="{E69B511C-F3FE-45BE-A184-82660C2AD062}" type="pres">
      <dgm:prSet presAssocID="{19FC7265-E1ED-45F3-81AC-355D453EB010}"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Partager avec une personne"/>
        </a:ext>
      </dgm:extLst>
    </dgm:pt>
    <dgm:pt modelId="{16600871-E970-4AC9-BC71-B8E782EDC9D3}" type="pres">
      <dgm:prSet presAssocID="{19FC7265-E1ED-45F3-81AC-355D453EB010}" presName="spaceRect" presStyleCnt="0"/>
      <dgm:spPr/>
    </dgm:pt>
    <dgm:pt modelId="{7997025A-1E49-444B-82AE-E1D248E88FE4}" type="pres">
      <dgm:prSet presAssocID="{19FC7265-E1ED-45F3-81AC-355D453EB010}" presName="parTx" presStyleLbl="revTx" presStyleIdx="6" presStyleCnt="7">
        <dgm:presLayoutVars>
          <dgm:chMax val="0"/>
          <dgm:chPref val="0"/>
        </dgm:presLayoutVars>
      </dgm:prSet>
      <dgm:spPr/>
    </dgm:pt>
  </dgm:ptLst>
  <dgm:cxnLst>
    <dgm:cxn modelId="{AC83D20E-B62B-476F-A561-150C30BB36CD}" type="presOf" srcId="{E795DB93-7A97-450F-98F4-ED1E9136DB97}" destId="{30CA80E8-489C-475D-8C18-EF27A6EAB0CE}" srcOrd="0" destOrd="0" presId="urn:microsoft.com/office/officeart/2018/2/layout/IconVerticalSolidList"/>
    <dgm:cxn modelId="{F0EDFC1E-1230-4F67-BCAB-D1670B3EDD12}" srcId="{2CCA5B7E-21A6-4DC3-AEB6-73C0341295A9}" destId="{6CCDBD64-427F-4373-BA4C-952766083390}" srcOrd="3" destOrd="0" parTransId="{6198B59E-893D-4AD9-BB34-585FD7DF5C95}" sibTransId="{8CF7D97A-8162-4C17-9C1D-D8CDA4D6C28B}"/>
    <dgm:cxn modelId="{13B62420-5096-4637-854C-4D03402B2440}" srcId="{2CCA5B7E-21A6-4DC3-AEB6-73C0341295A9}" destId="{0AF1DCE9-DD45-416D-8003-AC5D78D5BAFA}" srcOrd="2" destOrd="0" parTransId="{E4EF28A3-0AD4-4F2A-BB6C-ED17B417E18E}" sibTransId="{7EAA1B46-DA16-4570-B431-D462C7EEB0FF}"/>
    <dgm:cxn modelId="{05BFE42D-567C-4AAA-9982-57C63F7272FB}" type="presOf" srcId="{35BED681-BA9F-4549-A673-B84E70CC3789}" destId="{D82ABBBD-0CC4-42A7-85C7-9F4D1B14EA8D}" srcOrd="0" destOrd="0" presId="urn:microsoft.com/office/officeart/2018/2/layout/IconVerticalSolidList"/>
    <dgm:cxn modelId="{29CA634F-FCA0-46A3-8589-0B60176EA374}" type="presOf" srcId="{3464EC6E-3C8B-4F61-8F6A-B672EF512605}" destId="{7C9A83D0-4362-4306-BBB0-799F5A93163B}" srcOrd="0" destOrd="0" presId="urn:microsoft.com/office/officeart/2018/2/layout/IconVerticalSolidList"/>
    <dgm:cxn modelId="{594E4C53-A9E6-48B9-AB50-2094B707F8D0}" srcId="{2CCA5B7E-21A6-4DC3-AEB6-73C0341295A9}" destId="{35BED681-BA9F-4549-A673-B84E70CC3789}" srcOrd="5" destOrd="0" parTransId="{56536E88-37A0-4B5A-AF71-6658FA84D09D}" sibTransId="{6C916FAC-1BE3-4721-A13C-2A08F3E931D8}"/>
    <dgm:cxn modelId="{B02DAE81-278C-4C87-851D-4AB83F77BA19}" srcId="{2CCA5B7E-21A6-4DC3-AEB6-73C0341295A9}" destId="{E795DB93-7A97-450F-98F4-ED1E9136DB97}" srcOrd="0" destOrd="0" parTransId="{5B8FA836-B932-461E-8FB8-E5B80EA0822F}" sibTransId="{A1C8728D-DD21-4CAC-83E7-6F49F6B34D00}"/>
    <dgm:cxn modelId="{B928E790-375C-4703-ADEF-9AC89CEF6760}" type="presOf" srcId="{C1E51F19-9EB4-4BFA-9965-31A70CF860D2}" destId="{570F255B-2A33-413E-BE80-0F29C01AD211}" srcOrd="0" destOrd="0" presId="urn:microsoft.com/office/officeart/2018/2/layout/IconVerticalSolidList"/>
    <dgm:cxn modelId="{6C5E4B9F-D674-45F3-AA7C-E485FF4F2786}" srcId="{2CCA5B7E-21A6-4DC3-AEB6-73C0341295A9}" destId="{C1E51F19-9EB4-4BFA-9965-31A70CF860D2}" srcOrd="1" destOrd="0" parTransId="{4B84D0E7-894C-4089-9E92-AB79AF63F277}" sibTransId="{B70D632C-0E88-46DE-AEEF-23B4995490BB}"/>
    <dgm:cxn modelId="{668A13BB-F09E-4AE1-98F6-E8EA4581963A}" srcId="{2CCA5B7E-21A6-4DC3-AEB6-73C0341295A9}" destId="{3464EC6E-3C8B-4F61-8F6A-B672EF512605}" srcOrd="4" destOrd="0" parTransId="{B2935761-C6B7-4EE0-A388-255AA5CFDB56}" sibTransId="{F13EEC9A-13B3-46EA-BF66-7C9257DBBD47}"/>
    <dgm:cxn modelId="{830CE6BF-9D1E-47C9-B398-0FA64A0C535C}" srcId="{2CCA5B7E-21A6-4DC3-AEB6-73C0341295A9}" destId="{19FC7265-E1ED-45F3-81AC-355D453EB010}" srcOrd="6" destOrd="0" parTransId="{17287843-9F1D-4581-871A-FCD539BDC408}" sibTransId="{7F99835C-B843-440F-8524-BA592566ACC3}"/>
    <dgm:cxn modelId="{2ED437D0-2610-4D24-9088-DC45A9D63075}" type="presOf" srcId="{2CCA5B7E-21A6-4DC3-AEB6-73C0341295A9}" destId="{44D6BCFE-8B81-4F05-A67B-54373C39E30C}" srcOrd="0" destOrd="0" presId="urn:microsoft.com/office/officeart/2018/2/layout/IconVerticalSolidList"/>
    <dgm:cxn modelId="{0F7454DD-5CD7-46D3-BF89-8E9CE737B6C2}" type="presOf" srcId="{19FC7265-E1ED-45F3-81AC-355D453EB010}" destId="{7997025A-1E49-444B-82AE-E1D248E88FE4}" srcOrd="0" destOrd="0" presId="urn:microsoft.com/office/officeart/2018/2/layout/IconVerticalSolidList"/>
    <dgm:cxn modelId="{DB1290F3-C33D-403B-B98F-3BCBF946C46C}" type="presOf" srcId="{6CCDBD64-427F-4373-BA4C-952766083390}" destId="{7B1AC777-8B37-41E6-8B9B-E787B9FE9935}" srcOrd="0" destOrd="0" presId="urn:microsoft.com/office/officeart/2018/2/layout/IconVerticalSolidList"/>
    <dgm:cxn modelId="{D57A91F3-51D1-4319-9A40-1C6A3F7A4B79}" type="presOf" srcId="{0AF1DCE9-DD45-416D-8003-AC5D78D5BAFA}" destId="{B5589111-C90F-4327-83E7-E170428FC020}" srcOrd="0" destOrd="0" presId="urn:microsoft.com/office/officeart/2018/2/layout/IconVerticalSolidList"/>
    <dgm:cxn modelId="{E4DFB7DB-709B-447C-A056-E123D1A183D1}" type="presParOf" srcId="{44D6BCFE-8B81-4F05-A67B-54373C39E30C}" destId="{FF28AF1A-0414-4A20-A92A-702B605C54BF}" srcOrd="0" destOrd="0" presId="urn:microsoft.com/office/officeart/2018/2/layout/IconVerticalSolidList"/>
    <dgm:cxn modelId="{C2983B3A-065B-408C-B318-5D48F8C95922}" type="presParOf" srcId="{FF28AF1A-0414-4A20-A92A-702B605C54BF}" destId="{3303A4E2-85EB-4630-BD42-818D47DD9797}" srcOrd="0" destOrd="0" presId="urn:microsoft.com/office/officeart/2018/2/layout/IconVerticalSolidList"/>
    <dgm:cxn modelId="{3E7B8459-1362-42A8-940D-132DEEC883BB}" type="presParOf" srcId="{FF28AF1A-0414-4A20-A92A-702B605C54BF}" destId="{611F7FAB-4F4E-4299-A891-A5EF5E8257A1}" srcOrd="1" destOrd="0" presId="urn:microsoft.com/office/officeart/2018/2/layout/IconVerticalSolidList"/>
    <dgm:cxn modelId="{33810412-1B65-45A0-86D0-8247F477B2A0}" type="presParOf" srcId="{FF28AF1A-0414-4A20-A92A-702B605C54BF}" destId="{09003322-24CE-4BB7-B440-EAEAC94D17B7}" srcOrd="2" destOrd="0" presId="urn:microsoft.com/office/officeart/2018/2/layout/IconVerticalSolidList"/>
    <dgm:cxn modelId="{2926F851-9818-443C-96AD-7860E80AAC04}" type="presParOf" srcId="{FF28AF1A-0414-4A20-A92A-702B605C54BF}" destId="{30CA80E8-489C-475D-8C18-EF27A6EAB0CE}" srcOrd="3" destOrd="0" presId="urn:microsoft.com/office/officeart/2018/2/layout/IconVerticalSolidList"/>
    <dgm:cxn modelId="{A9A495F7-AED0-425F-A557-91192B55DC12}" type="presParOf" srcId="{44D6BCFE-8B81-4F05-A67B-54373C39E30C}" destId="{F2ED1D8A-D767-40BD-A8C3-846BFD06B1E6}" srcOrd="1" destOrd="0" presId="urn:microsoft.com/office/officeart/2018/2/layout/IconVerticalSolidList"/>
    <dgm:cxn modelId="{A1C060AE-8B91-437C-86C8-75F0B56189F0}" type="presParOf" srcId="{44D6BCFE-8B81-4F05-A67B-54373C39E30C}" destId="{1B09BAB4-E1D0-44B2-A9FD-26A091DB2779}" srcOrd="2" destOrd="0" presId="urn:microsoft.com/office/officeart/2018/2/layout/IconVerticalSolidList"/>
    <dgm:cxn modelId="{1B86541E-6C96-42CB-BEA3-43EFE3465D40}" type="presParOf" srcId="{1B09BAB4-E1D0-44B2-A9FD-26A091DB2779}" destId="{ACE1DEE3-5DBF-4209-BC3F-77153AA21EF0}" srcOrd="0" destOrd="0" presId="urn:microsoft.com/office/officeart/2018/2/layout/IconVerticalSolidList"/>
    <dgm:cxn modelId="{B98771C2-C8BF-4FAD-B358-C1F039D20269}" type="presParOf" srcId="{1B09BAB4-E1D0-44B2-A9FD-26A091DB2779}" destId="{BB8A3268-5C46-4EC8-8F37-82FDEF5DC58A}" srcOrd="1" destOrd="0" presId="urn:microsoft.com/office/officeart/2018/2/layout/IconVerticalSolidList"/>
    <dgm:cxn modelId="{8CA72DA3-D1FD-49A4-8EEF-3F7BED8581F3}" type="presParOf" srcId="{1B09BAB4-E1D0-44B2-A9FD-26A091DB2779}" destId="{2E7CD1F5-A64D-444B-9701-92C0A80E3E03}" srcOrd="2" destOrd="0" presId="urn:microsoft.com/office/officeart/2018/2/layout/IconVerticalSolidList"/>
    <dgm:cxn modelId="{04E7A3A1-C79F-4BBC-B68C-210674671CE7}" type="presParOf" srcId="{1B09BAB4-E1D0-44B2-A9FD-26A091DB2779}" destId="{570F255B-2A33-413E-BE80-0F29C01AD211}" srcOrd="3" destOrd="0" presId="urn:microsoft.com/office/officeart/2018/2/layout/IconVerticalSolidList"/>
    <dgm:cxn modelId="{CDE2157B-71E8-40AE-9740-E036D6026EF2}" type="presParOf" srcId="{44D6BCFE-8B81-4F05-A67B-54373C39E30C}" destId="{3C9D8046-411B-4C98-B6DE-D892EF1C5A20}" srcOrd="3" destOrd="0" presId="urn:microsoft.com/office/officeart/2018/2/layout/IconVerticalSolidList"/>
    <dgm:cxn modelId="{45E5E569-F6BE-41AA-9A26-1EB1876C420F}" type="presParOf" srcId="{44D6BCFE-8B81-4F05-A67B-54373C39E30C}" destId="{B271A64C-F764-4862-BDFC-D7D6F5B85E41}" srcOrd="4" destOrd="0" presId="urn:microsoft.com/office/officeart/2018/2/layout/IconVerticalSolidList"/>
    <dgm:cxn modelId="{06E4AB54-FA11-4CFB-B3CC-41963294C9AE}" type="presParOf" srcId="{B271A64C-F764-4862-BDFC-D7D6F5B85E41}" destId="{F4C39026-A17F-4CD6-AE73-30F790063AA3}" srcOrd="0" destOrd="0" presId="urn:microsoft.com/office/officeart/2018/2/layout/IconVerticalSolidList"/>
    <dgm:cxn modelId="{236B9019-8074-44F6-B691-1E6184355947}" type="presParOf" srcId="{B271A64C-F764-4862-BDFC-D7D6F5B85E41}" destId="{1BB1DF5A-3E2C-4C21-8D06-13C49A4AB1A3}" srcOrd="1" destOrd="0" presId="urn:microsoft.com/office/officeart/2018/2/layout/IconVerticalSolidList"/>
    <dgm:cxn modelId="{0DCF9709-8983-4AD9-B26D-154639B68559}" type="presParOf" srcId="{B271A64C-F764-4862-BDFC-D7D6F5B85E41}" destId="{70873AEA-5208-4A10-A0FD-BEC8788DC8E3}" srcOrd="2" destOrd="0" presId="urn:microsoft.com/office/officeart/2018/2/layout/IconVerticalSolidList"/>
    <dgm:cxn modelId="{8766D1EA-A663-4CCE-9817-B3BBC211E209}" type="presParOf" srcId="{B271A64C-F764-4862-BDFC-D7D6F5B85E41}" destId="{B5589111-C90F-4327-83E7-E170428FC020}" srcOrd="3" destOrd="0" presId="urn:microsoft.com/office/officeart/2018/2/layout/IconVerticalSolidList"/>
    <dgm:cxn modelId="{42014C7D-1F41-453E-9E54-51DC28821803}" type="presParOf" srcId="{44D6BCFE-8B81-4F05-A67B-54373C39E30C}" destId="{ECEF6EE0-30F6-4EFB-A4B1-37C95D3FBFFF}" srcOrd="5" destOrd="0" presId="urn:microsoft.com/office/officeart/2018/2/layout/IconVerticalSolidList"/>
    <dgm:cxn modelId="{FE095DCE-5D7E-4968-A47D-1195DD78FA11}" type="presParOf" srcId="{44D6BCFE-8B81-4F05-A67B-54373C39E30C}" destId="{52581C6C-428A-4A37-9A33-5BA3CA43F662}" srcOrd="6" destOrd="0" presId="urn:microsoft.com/office/officeart/2018/2/layout/IconVerticalSolidList"/>
    <dgm:cxn modelId="{B1898BC4-FD40-4CDF-A143-49350E670A59}" type="presParOf" srcId="{52581C6C-428A-4A37-9A33-5BA3CA43F662}" destId="{37F0C475-4C58-4DA5-BA88-E94F51CC98CB}" srcOrd="0" destOrd="0" presId="urn:microsoft.com/office/officeart/2018/2/layout/IconVerticalSolidList"/>
    <dgm:cxn modelId="{282A5734-D997-4CA8-BA56-DB2731E795F9}" type="presParOf" srcId="{52581C6C-428A-4A37-9A33-5BA3CA43F662}" destId="{74714754-D045-4941-932A-78081CCBA8EB}" srcOrd="1" destOrd="0" presId="urn:microsoft.com/office/officeart/2018/2/layout/IconVerticalSolidList"/>
    <dgm:cxn modelId="{5F1FA409-B83E-49F4-85FA-4F2C65BBD05B}" type="presParOf" srcId="{52581C6C-428A-4A37-9A33-5BA3CA43F662}" destId="{1DB95508-24FF-43DD-872A-3FA3DD621603}" srcOrd="2" destOrd="0" presId="urn:microsoft.com/office/officeart/2018/2/layout/IconVerticalSolidList"/>
    <dgm:cxn modelId="{FABBB1EF-E033-417E-9444-2B784FE0CBBE}" type="presParOf" srcId="{52581C6C-428A-4A37-9A33-5BA3CA43F662}" destId="{7B1AC777-8B37-41E6-8B9B-E787B9FE9935}" srcOrd="3" destOrd="0" presId="urn:microsoft.com/office/officeart/2018/2/layout/IconVerticalSolidList"/>
    <dgm:cxn modelId="{251E9163-2435-470E-9E24-0AED88716E78}" type="presParOf" srcId="{44D6BCFE-8B81-4F05-A67B-54373C39E30C}" destId="{8DC13348-EC83-4874-AF6B-9944DCE28CEF}" srcOrd="7" destOrd="0" presId="urn:microsoft.com/office/officeart/2018/2/layout/IconVerticalSolidList"/>
    <dgm:cxn modelId="{510930F4-05C1-486D-833C-53F3E6B0AF14}" type="presParOf" srcId="{44D6BCFE-8B81-4F05-A67B-54373C39E30C}" destId="{1E872B3B-0D97-4918-B9E5-0F9F5D6A8A69}" srcOrd="8" destOrd="0" presId="urn:microsoft.com/office/officeart/2018/2/layout/IconVerticalSolidList"/>
    <dgm:cxn modelId="{15D97F35-8DB7-4EC1-B53E-B8522AA04596}" type="presParOf" srcId="{1E872B3B-0D97-4918-B9E5-0F9F5D6A8A69}" destId="{B3F5ECC9-F47C-4643-8D49-0B497267BDC4}" srcOrd="0" destOrd="0" presId="urn:microsoft.com/office/officeart/2018/2/layout/IconVerticalSolidList"/>
    <dgm:cxn modelId="{3F86A836-CB64-4DDF-969F-C98B23B7ABF0}" type="presParOf" srcId="{1E872B3B-0D97-4918-B9E5-0F9F5D6A8A69}" destId="{F02F4037-266A-437D-9094-0B6BE43220FF}" srcOrd="1" destOrd="0" presId="urn:microsoft.com/office/officeart/2018/2/layout/IconVerticalSolidList"/>
    <dgm:cxn modelId="{CFF7EF15-3FBB-4FC0-94C4-88E682EDB2BA}" type="presParOf" srcId="{1E872B3B-0D97-4918-B9E5-0F9F5D6A8A69}" destId="{EF65A8A4-EECE-4C03-A840-0C2F5E0D33A4}" srcOrd="2" destOrd="0" presId="urn:microsoft.com/office/officeart/2018/2/layout/IconVerticalSolidList"/>
    <dgm:cxn modelId="{353BF2B3-E204-4B9E-82CF-379E602EB01B}" type="presParOf" srcId="{1E872B3B-0D97-4918-B9E5-0F9F5D6A8A69}" destId="{7C9A83D0-4362-4306-BBB0-799F5A93163B}" srcOrd="3" destOrd="0" presId="urn:microsoft.com/office/officeart/2018/2/layout/IconVerticalSolidList"/>
    <dgm:cxn modelId="{18DAFAE4-4A88-4376-AE3C-E9EEBFB577D4}" type="presParOf" srcId="{44D6BCFE-8B81-4F05-A67B-54373C39E30C}" destId="{13467C5D-6E71-4939-ACC7-4E892F348809}" srcOrd="9" destOrd="0" presId="urn:microsoft.com/office/officeart/2018/2/layout/IconVerticalSolidList"/>
    <dgm:cxn modelId="{9BDFE7EE-BF0B-4128-981A-35D74390068C}" type="presParOf" srcId="{44D6BCFE-8B81-4F05-A67B-54373C39E30C}" destId="{75F59C80-F85D-46CE-B87E-2847F61FF0E5}" srcOrd="10" destOrd="0" presId="urn:microsoft.com/office/officeart/2018/2/layout/IconVerticalSolidList"/>
    <dgm:cxn modelId="{9FB5ACFE-6FEF-4415-A92E-3981FE601AEE}" type="presParOf" srcId="{75F59C80-F85D-46CE-B87E-2847F61FF0E5}" destId="{80F276E8-A2D9-4597-9B86-6B626CFEEE84}" srcOrd="0" destOrd="0" presId="urn:microsoft.com/office/officeart/2018/2/layout/IconVerticalSolidList"/>
    <dgm:cxn modelId="{C860D486-05E1-4339-946F-807A6ADA4AA3}" type="presParOf" srcId="{75F59C80-F85D-46CE-B87E-2847F61FF0E5}" destId="{FEE41791-8DD4-4DB1-8D78-A7C58F61F763}" srcOrd="1" destOrd="0" presId="urn:microsoft.com/office/officeart/2018/2/layout/IconVerticalSolidList"/>
    <dgm:cxn modelId="{0FA87A56-6956-4EFD-BAE2-098FD560DCA9}" type="presParOf" srcId="{75F59C80-F85D-46CE-B87E-2847F61FF0E5}" destId="{1564083D-2A58-4406-85A3-C441E78B0222}" srcOrd="2" destOrd="0" presId="urn:microsoft.com/office/officeart/2018/2/layout/IconVerticalSolidList"/>
    <dgm:cxn modelId="{092FE0A5-9C04-4F41-AC5E-F34EF9F8931A}" type="presParOf" srcId="{75F59C80-F85D-46CE-B87E-2847F61FF0E5}" destId="{D82ABBBD-0CC4-42A7-85C7-9F4D1B14EA8D}" srcOrd="3" destOrd="0" presId="urn:microsoft.com/office/officeart/2018/2/layout/IconVerticalSolidList"/>
    <dgm:cxn modelId="{C911C662-1C33-447D-B4DE-49A247EE616F}" type="presParOf" srcId="{44D6BCFE-8B81-4F05-A67B-54373C39E30C}" destId="{E4A00E8D-B653-4A61-A848-6506A535A21D}" srcOrd="11" destOrd="0" presId="urn:microsoft.com/office/officeart/2018/2/layout/IconVerticalSolidList"/>
    <dgm:cxn modelId="{59448DFB-9B04-4129-A79E-7CEB2661B068}" type="presParOf" srcId="{44D6BCFE-8B81-4F05-A67B-54373C39E30C}" destId="{76CF32FC-9D48-4C67-B3CA-4AFAC6B07E46}" srcOrd="12" destOrd="0" presId="urn:microsoft.com/office/officeart/2018/2/layout/IconVerticalSolidList"/>
    <dgm:cxn modelId="{58D21971-A9B0-47CD-A125-1E2A69E2E174}" type="presParOf" srcId="{76CF32FC-9D48-4C67-B3CA-4AFAC6B07E46}" destId="{BE2A0ED2-AC81-4C0C-BFC6-DC8DC3720CE6}" srcOrd="0" destOrd="0" presId="urn:microsoft.com/office/officeart/2018/2/layout/IconVerticalSolidList"/>
    <dgm:cxn modelId="{3183DFF4-9549-439A-902F-0FF9862BEE60}" type="presParOf" srcId="{76CF32FC-9D48-4C67-B3CA-4AFAC6B07E46}" destId="{E69B511C-F3FE-45BE-A184-82660C2AD062}" srcOrd="1" destOrd="0" presId="urn:microsoft.com/office/officeart/2018/2/layout/IconVerticalSolidList"/>
    <dgm:cxn modelId="{B205224D-AC2A-46EA-A396-2639B3A506CE}" type="presParOf" srcId="{76CF32FC-9D48-4C67-B3CA-4AFAC6B07E46}" destId="{16600871-E970-4AC9-BC71-B8E782EDC9D3}" srcOrd="2" destOrd="0" presId="urn:microsoft.com/office/officeart/2018/2/layout/IconVerticalSolidList"/>
    <dgm:cxn modelId="{815E1289-7280-470A-8161-73B6697CAB9A}" type="presParOf" srcId="{76CF32FC-9D48-4C67-B3CA-4AFAC6B07E46}" destId="{7997025A-1E49-444B-82AE-E1D248E88FE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10ACCF-F009-4F32-9410-F4DFA8732793}"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fr-FR"/>
        </a:p>
      </dgm:t>
    </dgm:pt>
    <dgm:pt modelId="{DF7582F5-7B98-42CD-BB58-9F1E125F29BA}">
      <dgm:prSet phldrT="[Texte]"/>
      <dgm:spPr/>
      <dgm:t>
        <a:bodyPr/>
        <a:lstStyle/>
        <a:p>
          <a:r>
            <a:rPr lang="fr-FR" dirty="0">
              <a:latin typeface="Arial" panose="020B0604020202020204" pitchFamily="34" charset="0"/>
              <a:cs typeface="Arial" panose="020B0604020202020204" pitchFamily="34" charset="0"/>
            </a:rPr>
            <a:t>Code commerce</a:t>
          </a:r>
        </a:p>
      </dgm:t>
    </dgm:pt>
    <dgm:pt modelId="{3FC131CE-F21E-47AC-AAC5-4F2A1844F642}" type="parTrans" cxnId="{D1C44FBF-F284-4524-8748-7DE73BA33029}">
      <dgm:prSet/>
      <dgm:spPr/>
      <dgm:t>
        <a:bodyPr/>
        <a:lstStyle/>
        <a:p>
          <a:endParaRPr lang="fr-FR"/>
        </a:p>
      </dgm:t>
    </dgm:pt>
    <dgm:pt modelId="{675C93AD-C23C-49F3-808E-AD1FE573BD95}" type="sibTrans" cxnId="{D1C44FBF-F284-4524-8748-7DE73BA33029}">
      <dgm:prSet/>
      <dgm:spPr/>
      <dgm:t>
        <a:bodyPr/>
        <a:lstStyle/>
        <a:p>
          <a:endParaRPr lang="fr-FR"/>
        </a:p>
      </dgm:t>
    </dgm:pt>
    <dgm:pt modelId="{D66BDAE2-A2FB-4E68-A931-A4002F982825}">
      <dgm:prSet phldrT="[Texte]"/>
      <dgm:spPr/>
      <dgm:t>
        <a:bodyPr/>
        <a:lstStyle/>
        <a:p>
          <a:r>
            <a:rPr lang="fr-FR" dirty="0"/>
            <a:t>IAS/IFRS</a:t>
          </a:r>
        </a:p>
      </dgm:t>
    </dgm:pt>
    <dgm:pt modelId="{B8251BB3-806B-4640-87A1-5347535F0344}" type="parTrans" cxnId="{DDD88ED7-DE96-4E41-8263-20EC1DA914E0}">
      <dgm:prSet/>
      <dgm:spPr/>
      <dgm:t>
        <a:bodyPr/>
        <a:lstStyle/>
        <a:p>
          <a:endParaRPr lang="fr-FR"/>
        </a:p>
      </dgm:t>
    </dgm:pt>
    <dgm:pt modelId="{A0424AD1-D4C2-46FE-8B8D-E93D7A6474DA}" type="sibTrans" cxnId="{DDD88ED7-DE96-4E41-8263-20EC1DA914E0}">
      <dgm:prSet/>
      <dgm:spPr/>
      <dgm:t>
        <a:bodyPr/>
        <a:lstStyle/>
        <a:p>
          <a:endParaRPr lang="fr-FR"/>
        </a:p>
      </dgm:t>
    </dgm:pt>
    <dgm:pt modelId="{4AACF757-9E24-43E0-BE05-2B65ED63AA2B}">
      <dgm:prSet phldrT="[Texte]"/>
      <dgm:spPr/>
      <dgm:t>
        <a:bodyPr/>
        <a:lstStyle/>
        <a:p>
          <a:r>
            <a:rPr lang="fr-FR" dirty="0"/>
            <a:t>ANC/PCG</a:t>
          </a:r>
        </a:p>
      </dgm:t>
    </dgm:pt>
    <dgm:pt modelId="{7BCFFDA3-56FE-4E10-BC2C-18A45985446E}" type="parTrans" cxnId="{2A03E207-924F-4947-AA50-B865D48A353F}">
      <dgm:prSet/>
      <dgm:spPr/>
      <dgm:t>
        <a:bodyPr/>
        <a:lstStyle/>
        <a:p>
          <a:endParaRPr lang="fr-FR"/>
        </a:p>
      </dgm:t>
    </dgm:pt>
    <dgm:pt modelId="{22BA2595-E1DD-475C-817D-D1CE1E348B52}" type="sibTrans" cxnId="{2A03E207-924F-4947-AA50-B865D48A353F}">
      <dgm:prSet/>
      <dgm:spPr/>
      <dgm:t>
        <a:bodyPr/>
        <a:lstStyle/>
        <a:p>
          <a:endParaRPr lang="fr-FR"/>
        </a:p>
      </dgm:t>
    </dgm:pt>
    <dgm:pt modelId="{EF26C79B-FC09-4C7D-A713-7F57AD89B981}">
      <dgm:prSet phldrT="[Texte]"/>
      <dgm:spPr/>
      <dgm:t>
        <a:bodyPr/>
        <a:lstStyle/>
        <a:p>
          <a:r>
            <a:rPr lang="fr-FR" dirty="0"/>
            <a:t>Directives européennes</a:t>
          </a:r>
        </a:p>
      </dgm:t>
    </dgm:pt>
    <dgm:pt modelId="{C0461CF9-5840-4F2A-906B-286E253FC838}" type="parTrans" cxnId="{1AC8D757-DAC8-4A30-AB2D-21AA74FCA054}">
      <dgm:prSet/>
      <dgm:spPr/>
      <dgm:t>
        <a:bodyPr/>
        <a:lstStyle/>
        <a:p>
          <a:endParaRPr lang="fr-FR"/>
        </a:p>
      </dgm:t>
    </dgm:pt>
    <dgm:pt modelId="{ABEBA5FC-67C8-485E-B924-8A251AE5DBE3}" type="sibTrans" cxnId="{1AC8D757-DAC8-4A30-AB2D-21AA74FCA054}">
      <dgm:prSet/>
      <dgm:spPr/>
      <dgm:t>
        <a:bodyPr/>
        <a:lstStyle/>
        <a:p>
          <a:endParaRPr lang="fr-FR"/>
        </a:p>
      </dgm:t>
    </dgm:pt>
    <dgm:pt modelId="{FF05374E-11BA-4F02-B1D0-1FE1E892E59A}" type="pres">
      <dgm:prSet presAssocID="{E710ACCF-F009-4F32-9410-F4DFA8732793}" presName="Name0" presStyleCnt="0">
        <dgm:presLayoutVars>
          <dgm:dir/>
          <dgm:resizeHandles val="exact"/>
        </dgm:presLayoutVars>
      </dgm:prSet>
      <dgm:spPr/>
    </dgm:pt>
    <dgm:pt modelId="{D2F34F9F-54D0-4962-9BA0-0AAC4D1451CE}" type="pres">
      <dgm:prSet presAssocID="{DF7582F5-7B98-42CD-BB58-9F1E125F29BA}" presName="node" presStyleLbl="node1" presStyleIdx="0" presStyleCnt="4">
        <dgm:presLayoutVars>
          <dgm:bulletEnabled val="1"/>
        </dgm:presLayoutVars>
      </dgm:prSet>
      <dgm:spPr/>
    </dgm:pt>
    <dgm:pt modelId="{B4A7E25D-0407-42DC-828E-473E61939AEC}" type="pres">
      <dgm:prSet presAssocID="{675C93AD-C23C-49F3-808E-AD1FE573BD95}" presName="sibTrans" presStyleLbl="sibTrans2D1" presStyleIdx="0" presStyleCnt="4"/>
      <dgm:spPr/>
    </dgm:pt>
    <dgm:pt modelId="{ED65B5C9-3E38-4F2F-954A-B7CE78E58BCC}" type="pres">
      <dgm:prSet presAssocID="{675C93AD-C23C-49F3-808E-AD1FE573BD95}" presName="connectorText" presStyleLbl="sibTrans2D1" presStyleIdx="0" presStyleCnt="4"/>
      <dgm:spPr/>
    </dgm:pt>
    <dgm:pt modelId="{8B36BD13-5B48-4F07-BD38-4D11C03A618B}" type="pres">
      <dgm:prSet presAssocID="{D66BDAE2-A2FB-4E68-A931-A4002F982825}" presName="node" presStyleLbl="node1" presStyleIdx="1" presStyleCnt="4">
        <dgm:presLayoutVars>
          <dgm:bulletEnabled val="1"/>
        </dgm:presLayoutVars>
      </dgm:prSet>
      <dgm:spPr/>
    </dgm:pt>
    <dgm:pt modelId="{D9C51DA5-7E39-461E-980B-664FF6337EFA}" type="pres">
      <dgm:prSet presAssocID="{A0424AD1-D4C2-46FE-8B8D-E93D7A6474DA}" presName="sibTrans" presStyleLbl="sibTrans2D1" presStyleIdx="1" presStyleCnt="4"/>
      <dgm:spPr/>
    </dgm:pt>
    <dgm:pt modelId="{3DA07576-B98A-4FC5-BF79-B355AB8C67AA}" type="pres">
      <dgm:prSet presAssocID="{A0424AD1-D4C2-46FE-8B8D-E93D7A6474DA}" presName="connectorText" presStyleLbl="sibTrans2D1" presStyleIdx="1" presStyleCnt="4"/>
      <dgm:spPr/>
    </dgm:pt>
    <dgm:pt modelId="{40B904F2-ED60-48C6-8A45-6E7B6D1B2C81}" type="pres">
      <dgm:prSet presAssocID="{4AACF757-9E24-43E0-BE05-2B65ED63AA2B}" presName="node" presStyleLbl="node1" presStyleIdx="2" presStyleCnt="4">
        <dgm:presLayoutVars>
          <dgm:bulletEnabled val="1"/>
        </dgm:presLayoutVars>
      </dgm:prSet>
      <dgm:spPr/>
    </dgm:pt>
    <dgm:pt modelId="{D332A5C7-3C46-4328-A427-7AC278D4954C}" type="pres">
      <dgm:prSet presAssocID="{22BA2595-E1DD-475C-817D-D1CE1E348B52}" presName="sibTrans" presStyleLbl="sibTrans2D1" presStyleIdx="2" presStyleCnt="4"/>
      <dgm:spPr/>
    </dgm:pt>
    <dgm:pt modelId="{8097C004-E168-4606-A450-EEFAD4077204}" type="pres">
      <dgm:prSet presAssocID="{22BA2595-E1DD-475C-817D-D1CE1E348B52}" presName="connectorText" presStyleLbl="sibTrans2D1" presStyleIdx="2" presStyleCnt="4"/>
      <dgm:spPr/>
    </dgm:pt>
    <dgm:pt modelId="{251CC174-9539-4142-906D-48D53B313846}" type="pres">
      <dgm:prSet presAssocID="{EF26C79B-FC09-4C7D-A713-7F57AD89B981}" presName="node" presStyleLbl="node1" presStyleIdx="3" presStyleCnt="4">
        <dgm:presLayoutVars>
          <dgm:bulletEnabled val="1"/>
        </dgm:presLayoutVars>
      </dgm:prSet>
      <dgm:spPr/>
    </dgm:pt>
    <dgm:pt modelId="{CE13F613-EA16-46D1-B58E-4D00C6299BC8}" type="pres">
      <dgm:prSet presAssocID="{ABEBA5FC-67C8-485E-B924-8A251AE5DBE3}" presName="sibTrans" presStyleLbl="sibTrans2D1" presStyleIdx="3" presStyleCnt="4"/>
      <dgm:spPr/>
    </dgm:pt>
    <dgm:pt modelId="{BC4E013E-885F-40DF-A05C-215E0BACD388}" type="pres">
      <dgm:prSet presAssocID="{ABEBA5FC-67C8-485E-B924-8A251AE5DBE3}" presName="connectorText" presStyleLbl="sibTrans2D1" presStyleIdx="3" presStyleCnt="4"/>
      <dgm:spPr/>
    </dgm:pt>
  </dgm:ptLst>
  <dgm:cxnLst>
    <dgm:cxn modelId="{2A03E207-924F-4947-AA50-B865D48A353F}" srcId="{E710ACCF-F009-4F32-9410-F4DFA8732793}" destId="{4AACF757-9E24-43E0-BE05-2B65ED63AA2B}" srcOrd="2" destOrd="0" parTransId="{7BCFFDA3-56FE-4E10-BC2C-18A45985446E}" sibTransId="{22BA2595-E1DD-475C-817D-D1CE1E348B52}"/>
    <dgm:cxn modelId="{6DD4960B-D1C9-4939-9EDA-EC5C07CE8A2E}" type="presOf" srcId="{E710ACCF-F009-4F32-9410-F4DFA8732793}" destId="{FF05374E-11BA-4F02-B1D0-1FE1E892E59A}" srcOrd="0" destOrd="0" presId="urn:microsoft.com/office/officeart/2005/8/layout/cycle7"/>
    <dgm:cxn modelId="{CAA4D220-74F6-49ED-9EEE-6B428D1C5CEF}" type="presOf" srcId="{DF7582F5-7B98-42CD-BB58-9F1E125F29BA}" destId="{D2F34F9F-54D0-4962-9BA0-0AAC4D1451CE}" srcOrd="0" destOrd="0" presId="urn:microsoft.com/office/officeart/2005/8/layout/cycle7"/>
    <dgm:cxn modelId="{0D08863C-42A3-4877-97D2-3B1EBB174490}" type="presOf" srcId="{ABEBA5FC-67C8-485E-B924-8A251AE5DBE3}" destId="{BC4E013E-885F-40DF-A05C-215E0BACD388}" srcOrd="1" destOrd="0" presId="urn:microsoft.com/office/officeart/2005/8/layout/cycle7"/>
    <dgm:cxn modelId="{07382A3E-916F-42AA-9412-AF6782728395}" type="presOf" srcId="{675C93AD-C23C-49F3-808E-AD1FE573BD95}" destId="{ED65B5C9-3E38-4F2F-954A-B7CE78E58BCC}" srcOrd="1" destOrd="0" presId="urn:microsoft.com/office/officeart/2005/8/layout/cycle7"/>
    <dgm:cxn modelId="{0F6BC14A-61EB-43ED-B8F0-28A1DFC821D9}" type="presOf" srcId="{22BA2595-E1DD-475C-817D-D1CE1E348B52}" destId="{8097C004-E168-4606-A450-EEFAD4077204}" srcOrd="1" destOrd="0" presId="urn:microsoft.com/office/officeart/2005/8/layout/cycle7"/>
    <dgm:cxn modelId="{1AC8D757-DAC8-4A30-AB2D-21AA74FCA054}" srcId="{E710ACCF-F009-4F32-9410-F4DFA8732793}" destId="{EF26C79B-FC09-4C7D-A713-7F57AD89B981}" srcOrd="3" destOrd="0" parTransId="{C0461CF9-5840-4F2A-906B-286E253FC838}" sibTransId="{ABEBA5FC-67C8-485E-B924-8A251AE5DBE3}"/>
    <dgm:cxn modelId="{F1381F8D-B98D-427A-827D-5AF3161B7A48}" type="presOf" srcId="{A0424AD1-D4C2-46FE-8B8D-E93D7A6474DA}" destId="{D9C51DA5-7E39-461E-980B-664FF6337EFA}" srcOrd="0" destOrd="0" presId="urn:microsoft.com/office/officeart/2005/8/layout/cycle7"/>
    <dgm:cxn modelId="{BF6684B7-ABC1-4D57-9896-0516710BF3F3}" type="presOf" srcId="{22BA2595-E1DD-475C-817D-D1CE1E348B52}" destId="{D332A5C7-3C46-4328-A427-7AC278D4954C}" srcOrd="0" destOrd="0" presId="urn:microsoft.com/office/officeart/2005/8/layout/cycle7"/>
    <dgm:cxn modelId="{D1C44FBF-F284-4524-8748-7DE73BA33029}" srcId="{E710ACCF-F009-4F32-9410-F4DFA8732793}" destId="{DF7582F5-7B98-42CD-BB58-9F1E125F29BA}" srcOrd="0" destOrd="0" parTransId="{3FC131CE-F21E-47AC-AAC5-4F2A1844F642}" sibTransId="{675C93AD-C23C-49F3-808E-AD1FE573BD95}"/>
    <dgm:cxn modelId="{45BCBCCE-DE46-4F74-AFBE-E8EAECE3B88E}" type="presOf" srcId="{675C93AD-C23C-49F3-808E-AD1FE573BD95}" destId="{B4A7E25D-0407-42DC-828E-473E61939AEC}" srcOrd="0" destOrd="0" presId="urn:microsoft.com/office/officeart/2005/8/layout/cycle7"/>
    <dgm:cxn modelId="{DDD88ED7-DE96-4E41-8263-20EC1DA914E0}" srcId="{E710ACCF-F009-4F32-9410-F4DFA8732793}" destId="{D66BDAE2-A2FB-4E68-A931-A4002F982825}" srcOrd="1" destOrd="0" parTransId="{B8251BB3-806B-4640-87A1-5347535F0344}" sibTransId="{A0424AD1-D4C2-46FE-8B8D-E93D7A6474DA}"/>
    <dgm:cxn modelId="{9C2F26D9-D0A0-4D4A-B1EB-030786DD41E8}" type="presOf" srcId="{EF26C79B-FC09-4C7D-A713-7F57AD89B981}" destId="{251CC174-9539-4142-906D-48D53B313846}" srcOrd="0" destOrd="0" presId="urn:microsoft.com/office/officeart/2005/8/layout/cycle7"/>
    <dgm:cxn modelId="{9724C4D9-9B1A-4117-B79B-CE2B2E074890}" type="presOf" srcId="{ABEBA5FC-67C8-485E-B924-8A251AE5DBE3}" destId="{CE13F613-EA16-46D1-B58E-4D00C6299BC8}" srcOrd="0" destOrd="0" presId="urn:microsoft.com/office/officeart/2005/8/layout/cycle7"/>
    <dgm:cxn modelId="{CFA469E4-5E57-4ED9-9292-E6E4280F6B86}" type="presOf" srcId="{4AACF757-9E24-43E0-BE05-2B65ED63AA2B}" destId="{40B904F2-ED60-48C6-8A45-6E7B6D1B2C81}" srcOrd="0" destOrd="0" presId="urn:microsoft.com/office/officeart/2005/8/layout/cycle7"/>
    <dgm:cxn modelId="{67130EE5-0F1F-4C71-B8AA-420361B3AEE2}" type="presOf" srcId="{A0424AD1-D4C2-46FE-8B8D-E93D7A6474DA}" destId="{3DA07576-B98A-4FC5-BF79-B355AB8C67AA}" srcOrd="1" destOrd="0" presId="urn:microsoft.com/office/officeart/2005/8/layout/cycle7"/>
    <dgm:cxn modelId="{0EF2F8EB-3CFD-4124-971B-A385083B8A8B}" type="presOf" srcId="{D66BDAE2-A2FB-4E68-A931-A4002F982825}" destId="{8B36BD13-5B48-4F07-BD38-4D11C03A618B}" srcOrd="0" destOrd="0" presId="urn:microsoft.com/office/officeart/2005/8/layout/cycle7"/>
    <dgm:cxn modelId="{EAFCCA5E-963E-4009-BBEB-8406AE8F6A19}" type="presParOf" srcId="{FF05374E-11BA-4F02-B1D0-1FE1E892E59A}" destId="{D2F34F9F-54D0-4962-9BA0-0AAC4D1451CE}" srcOrd="0" destOrd="0" presId="urn:microsoft.com/office/officeart/2005/8/layout/cycle7"/>
    <dgm:cxn modelId="{60771EF6-E7A5-40CB-AB7D-3EBF26B9F6BB}" type="presParOf" srcId="{FF05374E-11BA-4F02-B1D0-1FE1E892E59A}" destId="{B4A7E25D-0407-42DC-828E-473E61939AEC}" srcOrd="1" destOrd="0" presId="urn:microsoft.com/office/officeart/2005/8/layout/cycle7"/>
    <dgm:cxn modelId="{A3E4D798-DC88-4C6B-B018-2EAA687AA315}" type="presParOf" srcId="{B4A7E25D-0407-42DC-828E-473E61939AEC}" destId="{ED65B5C9-3E38-4F2F-954A-B7CE78E58BCC}" srcOrd="0" destOrd="0" presId="urn:microsoft.com/office/officeart/2005/8/layout/cycle7"/>
    <dgm:cxn modelId="{66F8F749-D0F0-40FE-BAF1-887CA0A22006}" type="presParOf" srcId="{FF05374E-11BA-4F02-B1D0-1FE1E892E59A}" destId="{8B36BD13-5B48-4F07-BD38-4D11C03A618B}" srcOrd="2" destOrd="0" presId="urn:microsoft.com/office/officeart/2005/8/layout/cycle7"/>
    <dgm:cxn modelId="{D3F9EE03-BD1F-4E1F-81D0-981438811F4D}" type="presParOf" srcId="{FF05374E-11BA-4F02-B1D0-1FE1E892E59A}" destId="{D9C51DA5-7E39-461E-980B-664FF6337EFA}" srcOrd="3" destOrd="0" presId="urn:microsoft.com/office/officeart/2005/8/layout/cycle7"/>
    <dgm:cxn modelId="{C26B38C1-035B-4EFD-993B-D1FF732A9A0A}" type="presParOf" srcId="{D9C51DA5-7E39-461E-980B-664FF6337EFA}" destId="{3DA07576-B98A-4FC5-BF79-B355AB8C67AA}" srcOrd="0" destOrd="0" presId="urn:microsoft.com/office/officeart/2005/8/layout/cycle7"/>
    <dgm:cxn modelId="{8E8DA513-B38E-42D1-97E2-F4F60D288A00}" type="presParOf" srcId="{FF05374E-11BA-4F02-B1D0-1FE1E892E59A}" destId="{40B904F2-ED60-48C6-8A45-6E7B6D1B2C81}" srcOrd="4" destOrd="0" presId="urn:microsoft.com/office/officeart/2005/8/layout/cycle7"/>
    <dgm:cxn modelId="{F0B8D7AD-A585-4C80-BDBD-B19BE596213C}" type="presParOf" srcId="{FF05374E-11BA-4F02-B1D0-1FE1E892E59A}" destId="{D332A5C7-3C46-4328-A427-7AC278D4954C}" srcOrd="5" destOrd="0" presId="urn:microsoft.com/office/officeart/2005/8/layout/cycle7"/>
    <dgm:cxn modelId="{4126710A-6EEC-493B-A0DD-2EBEFC268A0F}" type="presParOf" srcId="{D332A5C7-3C46-4328-A427-7AC278D4954C}" destId="{8097C004-E168-4606-A450-EEFAD4077204}" srcOrd="0" destOrd="0" presId="urn:microsoft.com/office/officeart/2005/8/layout/cycle7"/>
    <dgm:cxn modelId="{E04EE3D0-0775-44C0-9113-E4586C39011C}" type="presParOf" srcId="{FF05374E-11BA-4F02-B1D0-1FE1E892E59A}" destId="{251CC174-9539-4142-906D-48D53B313846}" srcOrd="6" destOrd="0" presId="urn:microsoft.com/office/officeart/2005/8/layout/cycle7"/>
    <dgm:cxn modelId="{78DFC6FB-5ACF-46A5-9D17-D3D74FD5FC72}" type="presParOf" srcId="{FF05374E-11BA-4F02-B1D0-1FE1E892E59A}" destId="{CE13F613-EA16-46D1-B58E-4D00C6299BC8}" srcOrd="7" destOrd="0" presId="urn:microsoft.com/office/officeart/2005/8/layout/cycle7"/>
    <dgm:cxn modelId="{782C7599-63CA-4D71-A023-65D765BE3058}" type="presParOf" srcId="{CE13F613-EA16-46D1-B58E-4D00C6299BC8}" destId="{BC4E013E-885F-40DF-A05C-215E0BACD388}" srcOrd="0" destOrd="0" presId="urn:microsoft.com/office/officeart/2005/8/layout/cycle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FD7B1AF-B2C5-45BA-BD61-E44C62C2CEC9}"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fr-FR"/>
        </a:p>
      </dgm:t>
    </dgm:pt>
    <dgm:pt modelId="{5411087B-E9E3-456A-B8A5-11276E94CCCF}">
      <dgm:prSet phldrT="[Texte]"/>
      <dgm:spPr/>
      <dgm:t>
        <a:bodyPr/>
        <a:lstStyle/>
        <a:p>
          <a:r>
            <a:rPr lang="fr-FR" dirty="0"/>
            <a:t>IAS</a:t>
          </a:r>
        </a:p>
      </dgm:t>
    </dgm:pt>
    <dgm:pt modelId="{90C57A72-884D-4AD7-BD1C-853773CEA254}" type="parTrans" cxnId="{76B2454D-8DB6-45CF-922A-9D9A5BFD58E4}">
      <dgm:prSet/>
      <dgm:spPr/>
      <dgm:t>
        <a:bodyPr/>
        <a:lstStyle/>
        <a:p>
          <a:endParaRPr lang="fr-FR"/>
        </a:p>
      </dgm:t>
    </dgm:pt>
    <dgm:pt modelId="{7565577F-6C9C-4882-BADC-1099110A80F5}" type="sibTrans" cxnId="{76B2454D-8DB6-45CF-922A-9D9A5BFD58E4}">
      <dgm:prSet/>
      <dgm:spPr/>
      <dgm:t>
        <a:bodyPr/>
        <a:lstStyle/>
        <a:p>
          <a:endParaRPr lang="fr-FR"/>
        </a:p>
      </dgm:t>
    </dgm:pt>
    <dgm:pt modelId="{80E581DF-5BE5-4E97-B13A-B7260E1FB571}">
      <dgm:prSet phldrT="[Texte]"/>
      <dgm:spPr/>
      <dgm:t>
        <a:bodyPr/>
        <a:lstStyle/>
        <a:p>
          <a:r>
            <a:rPr lang="fr-FR" dirty="0"/>
            <a:t>A</a:t>
          </a:r>
        </a:p>
      </dgm:t>
    </dgm:pt>
    <dgm:pt modelId="{E40D52AD-DCBB-4654-B3A9-87D14A80288E}" type="parTrans" cxnId="{1ABE17F1-95EB-4AA5-9AC2-6547754FF144}">
      <dgm:prSet/>
      <dgm:spPr/>
      <dgm:t>
        <a:bodyPr/>
        <a:lstStyle/>
        <a:p>
          <a:endParaRPr lang="fr-FR"/>
        </a:p>
      </dgm:t>
    </dgm:pt>
    <dgm:pt modelId="{EFCFD3C6-108E-4D92-8F26-EE1E8BD40415}" type="sibTrans" cxnId="{1ABE17F1-95EB-4AA5-9AC2-6547754FF144}">
      <dgm:prSet/>
      <dgm:spPr/>
      <dgm:t>
        <a:bodyPr/>
        <a:lstStyle/>
        <a:p>
          <a:endParaRPr lang="fr-FR"/>
        </a:p>
      </dgm:t>
    </dgm:pt>
    <dgm:pt modelId="{DEA0C92C-6660-451B-A00E-C98764C10CDB}">
      <dgm:prSet phldrT="[Texte]"/>
      <dgm:spPr/>
      <dgm:t>
        <a:bodyPr/>
        <a:lstStyle/>
        <a:p>
          <a:r>
            <a:rPr lang="fr-FR" dirty="0"/>
            <a:t>41</a:t>
          </a:r>
        </a:p>
      </dgm:t>
    </dgm:pt>
    <dgm:pt modelId="{2FA45AFD-3E20-4784-8B07-C6DD47EDCC66}" type="parTrans" cxnId="{6DC1CA40-C4D2-4971-A7E1-BE4A7C125A70}">
      <dgm:prSet/>
      <dgm:spPr/>
      <dgm:t>
        <a:bodyPr/>
        <a:lstStyle/>
        <a:p>
          <a:endParaRPr lang="fr-FR"/>
        </a:p>
      </dgm:t>
    </dgm:pt>
    <dgm:pt modelId="{6F86A813-F69B-436B-A03F-EA296F1D1573}" type="sibTrans" cxnId="{6DC1CA40-C4D2-4971-A7E1-BE4A7C125A70}">
      <dgm:prSet/>
      <dgm:spPr/>
      <dgm:t>
        <a:bodyPr/>
        <a:lstStyle/>
        <a:p>
          <a:endParaRPr lang="fr-FR"/>
        </a:p>
      </dgm:t>
    </dgm:pt>
    <dgm:pt modelId="{3C853FCD-B572-48B6-AEFB-D5A872C209B7}">
      <dgm:prSet phldrT="[Texte]"/>
      <dgm:spPr/>
      <dgm:t>
        <a:bodyPr/>
        <a:lstStyle/>
        <a:p>
          <a:r>
            <a:rPr lang="fr-FR" dirty="0"/>
            <a:t>IFRS</a:t>
          </a:r>
        </a:p>
      </dgm:t>
    </dgm:pt>
    <dgm:pt modelId="{5E27CADC-DCD9-4D54-85A0-40CBDBAE39C8}" type="parTrans" cxnId="{B224E5C8-CF1F-4661-867D-8C5A8CA6F163}">
      <dgm:prSet/>
      <dgm:spPr/>
      <dgm:t>
        <a:bodyPr/>
        <a:lstStyle/>
        <a:p>
          <a:endParaRPr lang="fr-FR"/>
        </a:p>
      </dgm:t>
    </dgm:pt>
    <dgm:pt modelId="{B6A31839-7A82-4DA3-AB60-F8CFABEACBA9}" type="sibTrans" cxnId="{B224E5C8-CF1F-4661-867D-8C5A8CA6F163}">
      <dgm:prSet/>
      <dgm:spPr/>
      <dgm:t>
        <a:bodyPr/>
        <a:lstStyle/>
        <a:p>
          <a:endParaRPr lang="fr-FR"/>
        </a:p>
      </dgm:t>
    </dgm:pt>
    <dgm:pt modelId="{B824663D-817C-46C5-9FE3-A80952200CAD}">
      <dgm:prSet phldrT="[Texte]"/>
      <dgm:spPr/>
      <dgm:t>
        <a:bodyPr/>
        <a:lstStyle/>
        <a:p>
          <a:r>
            <a:rPr lang="fr-FR" dirty="0"/>
            <a:t>F</a:t>
          </a:r>
        </a:p>
      </dgm:t>
    </dgm:pt>
    <dgm:pt modelId="{64F1E7CC-5F1E-44FA-B157-E4680AB9D76F}" type="parTrans" cxnId="{DE79AA6B-2DC2-4BD1-9BA3-CF082F01625B}">
      <dgm:prSet/>
      <dgm:spPr/>
      <dgm:t>
        <a:bodyPr/>
        <a:lstStyle/>
        <a:p>
          <a:endParaRPr lang="fr-FR"/>
        </a:p>
      </dgm:t>
    </dgm:pt>
    <dgm:pt modelId="{D21B0EA8-299E-48BC-BE94-B41EEC79058C}" type="sibTrans" cxnId="{DE79AA6B-2DC2-4BD1-9BA3-CF082F01625B}">
      <dgm:prSet/>
      <dgm:spPr/>
      <dgm:t>
        <a:bodyPr/>
        <a:lstStyle/>
        <a:p>
          <a:endParaRPr lang="fr-FR"/>
        </a:p>
      </dgm:t>
    </dgm:pt>
    <dgm:pt modelId="{6A5DF574-10C7-4804-B8F1-C6F46CD7AD20}">
      <dgm:prSet phldrT="[Texte]"/>
      <dgm:spPr/>
      <dgm:t>
        <a:bodyPr/>
        <a:lstStyle/>
        <a:p>
          <a:r>
            <a:rPr lang="fr-FR" dirty="0"/>
            <a:t>17</a:t>
          </a:r>
        </a:p>
      </dgm:t>
    </dgm:pt>
    <dgm:pt modelId="{782A525B-25C8-4192-B348-719539846220}" type="parTrans" cxnId="{2573F94F-CA47-4061-8AFE-469100E348D3}">
      <dgm:prSet/>
      <dgm:spPr/>
      <dgm:t>
        <a:bodyPr/>
        <a:lstStyle/>
        <a:p>
          <a:endParaRPr lang="fr-FR"/>
        </a:p>
      </dgm:t>
    </dgm:pt>
    <dgm:pt modelId="{176D687F-9A83-436F-98D8-AA751B0B94DE}" type="sibTrans" cxnId="{2573F94F-CA47-4061-8AFE-469100E348D3}">
      <dgm:prSet/>
      <dgm:spPr/>
      <dgm:t>
        <a:bodyPr/>
        <a:lstStyle/>
        <a:p>
          <a:endParaRPr lang="fr-FR"/>
        </a:p>
      </dgm:t>
    </dgm:pt>
    <dgm:pt modelId="{C1E69C32-80CF-4D2D-955A-C6FC67114176}" type="pres">
      <dgm:prSet presAssocID="{3FD7B1AF-B2C5-45BA-BD61-E44C62C2CEC9}" presName="outerComposite" presStyleCnt="0">
        <dgm:presLayoutVars>
          <dgm:chMax val="2"/>
          <dgm:animLvl val="lvl"/>
          <dgm:resizeHandles val="exact"/>
        </dgm:presLayoutVars>
      </dgm:prSet>
      <dgm:spPr/>
    </dgm:pt>
    <dgm:pt modelId="{98AF9AE4-7733-42EC-B022-58BABD15ACF5}" type="pres">
      <dgm:prSet presAssocID="{3FD7B1AF-B2C5-45BA-BD61-E44C62C2CEC9}" presName="dummyMaxCanvas" presStyleCnt="0"/>
      <dgm:spPr/>
    </dgm:pt>
    <dgm:pt modelId="{EDA92BAC-DB5D-4DFF-87E2-A2E2676C7A74}" type="pres">
      <dgm:prSet presAssocID="{3FD7B1AF-B2C5-45BA-BD61-E44C62C2CEC9}" presName="parentComposite" presStyleCnt="0"/>
      <dgm:spPr/>
    </dgm:pt>
    <dgm:pt modelId="{CBC40B62-37AB-4369-9E77-148940E7326E}" type="pres">
      <dgm:prSet presAssocID="{3FD7B1AF-B2C5-45BA-BD61-E44C62C2CEC9}" presName="parent1" presStyleLbl="alignAccFollowNode1" presStyleIdx="0" presStyleCnt="4">
        <dgm:presLayoutVars>
          <dgm:chMax val="4"/>
        </dgm:presLayoutVars>
      </dgm:prSet>
      <dgm:spPr/>
    </dgm:pt>
    <dgm:pt modelId="{ED84B430-E144-430B-85DB-76D40D860EE8}" type="pres">
      <dgm:prSet presAssocID="{3FD7B1AF-B2C5-45BA-BD61-E44C62C2CEC9}" presName="parent2" presStyleLbl="alignAccFollowNode1" presStyleIdx="1" presStyleCnt="4">
        <dgm:presLayoutVars>
          <dgm:chMax val="4"/>
        </dgm:presLayoutVars>
      </dgm:prSet>
      <dgm:spPr/>
    </dgm:pt>
    <dgm:pt modelId="{F4393C67-B471-4BCC-9344-5F4DFCE4AEDF}" type="pres">
      <dgm:prSet presAssocID="{3FD7B1AF-B2C5-45BA-BD61-E44C62C2CEC9}" presName="childrenComposite" presStyleCnt="0"/>
      <dgm:spPr/>
    </dgm:pt>
    <dgm:pt modelId="{AB9528FE-8B58-4FF7-8362-F489756207C1}" type="pres">
      <dgm:prSet presAssocID="{3FD7B1AF-B2C5-45BA-BD61-E44C62C2CEC9}" presName="dummyMaxCanvas_ChildArea" presStyleCnt="0"/>
      <dgm:spPr/>
    </dgm:pt>
    <dgm:pt modelId="{6280F2B4-A026-45A5-AE8C-FFF9DB0FBC20}" type="pres">
      <dgm:prSet presAssocID="{3FD7B1AF-B2C5-45BA-BD61-E44C62C2CEC9}" presName="fulcrum" presStyleLbl="alignAccFollowNode1" presStyleIdx="2" presStyleCnt="4"/>
      <dgm:spPr/>
    </dgm:pt>
    <dgm:pt modelId="{63CE1F18-74FB-4A06-9632-9DE3CF1AA884}" type="pres">
      <dgm:prSet presAssocID="{3FD7B1AF-B2C5-45BA-BD61-E44C62C2CEC9}" presName="balance_22" presStyleLbl="alignAccFollowNode1" presStyleIdx="3" presStyleCnt="4">
        <dgm:presLayoutVars>
          <dgm:bulletEnabled val="1"/>
        </dgm:presLayoutVars>
      </dgm:prSet>
      <dgm:spPr/>
    </dgm:pt>
    <dgm:pt modelId="{7997E9A3-9390-4EFE-BEA0-BC9E1FBE6014}" type="pres">
      <dgm:prSet presAssocID="{3FD7B1AF-B2C5-45BA-BD61-E44C62C2CEC9}" presName="right_22_1" presStyleLbl="node1" presStyleIdx="0" presStyleCnt="4">
        <dgm:presLayoutVars>
          <dgm:bulletEnabled val="1"/>
        </dgm:presLayoutVars>
      </dgm:prSet>
      <dgm:spPr/>
    </dgm:pt>
    <dgm:pt modelId="{C9B2498B-8C84-41A3-9922-ADB3EF5A3A9E}" type="pres">
      <dgm:prSet presAssocID="{3FD7B1AF-B2C5-45BA-BD61-E44C62C2CEC9}" presName="right_22_2" presStyleLbl="node1" presStyleIdx="1" presStyleCnt="4">
        <dgm:presLayoutVars>
          <dgm:bulletEnabled val="1"/>
        </dgm:presLayoutVars>
      </dgm:prSet>
      <dgm:spPr/>
    </dgm:pt>
    <dgm:pt modelId="{FE7FEC95-79C4-4823-8A9A-138F14D05921}" type="pres">
      <dgm:prSet presAssocID="{3FD7B1AF-B2C5-45BA-BD61-E44C62C2CEC9}" presName="left_22_1" presStyleLbl="node1" presStyleIdx="2" presStyleCnt="4">
        <dgm:presLayoutVars>
          <dgm:bulletEnabled val="1"/>
        </dgm:presLayoutVars>
      </dgm:prSet>
      <dgm:spPr/>
    </dgm:pt>
    <dgm:pt modelId="{6ED9110D-5561-41F7-8F5E-BE71C00B38F5}" type="pres">
      <dgm:prSet presAssocID="{3FD7B1AF-B2C5-45BA-BD61-E44C62C2CEC9}" presName="left_22_2" presStyleLbl="node1" presStyleIdx="3" presStyleCnt="4">
        <dgm:presLayoutVars>
          <dgm:bulletEnabled val="1"/>
        </dgm:presLayoutVars>
      </dgm:prSet>
      <dgm:spPr/>
    </dgm:pt>
  </dgm:ptLst>
  <dgm:cxnLst>
    <dgm:cxn modelId="{CDF24B12-A368-46CC-A133-9711B62415DE}" type="presOf" srcId="{DEA0C92C-6660-451B-A00E-C98764C10CDB}" destId="{6ED9110D-5561-41F7-8F5E-BE71C00B38F5}" srcOrd="0" destOrd="0" presId="urn:microsoft.com/office/officeart/2005/8/layout/balance1"/>
    <dgm:cxn modelId="{273DF71F-74DF-4429-B51F-BCB8CB412325}" type="presOf" srcId="{3C853FCD-B572-48B6-AEFB-D5A872C209B7}" destId="{ED84B430-E144-430B-85DB-76D40D860EE8}" srcOrd="0" destOrd="0" presId="urn:microsoft.com/office/officeart/2005/8/layout/balance1"/>
    <dgm:cxn modelId="{4BCFDA2E-7F42-4AB0-BE29-89ACDD84D9FB}" type="presOf" srcId="{6A5DF574-10C7-4804-B8F1-C6F46CD7AD20}" destId="{C9B2498B-8C84-41A3-9922-ADB3EF5A3A9E}" srcOrd="0" destOrd="0" presId="urn:microsoft.com/office/officeart/2005/8/layout/balance1"/>
    <dgm:cxn modelId="{6DC1CA40-C4D2-4971-A7E1-BE4A7C125A70}" srcId="{5411087B-E9E3-456A-B8A5-11276E94CCCF}" destId="{DEA0C92C-6660-451B-A00E-C98764C10CDB}" srcOrd="1" destOrd="0" parTransId="{2FA45AFD-3E20-4784-8B07-C6DD47EDCC66}" sibTransId="{6F86A813-F69B-436B-A03F-EA296F1D1573}"/>
    <dgm:cxn modelId="{2F59CD5D-F071-47DB-A5C9-CA46D5CF791C}" type="presOf" srcId="{5411087B-E9E3-456A-B8A5-11276E94CCCF}" destId="{CBC40B62-37AB-4369-9E77-148940E7326E}" srcOrd="0" destOrd="0" presId="urn:microsoft.com/office/officeart/2005/8/layout/balance1"/>
    <dgm:cxn modelId="{DE79AA6B-2DC2-4BD1-9BA3-CF082F01625B}" srcId="{3C853FCD-B572-48B6-AEFB-D5A872C209B7}" destId="{B824663D-817C-46C5-9FE3-A80952200CAD}" srcOrd="0" destOrd="0" parTransId="{64F1E7CC-5F1E-44FA-B157-E4680AB9D76F}" sibTransId="{D21B0EA8-299E-48BC-BE94-B41EEC79058C}"/>
    <dgm:cxn modelId="{0582254C-94B7-4CB8-8166-65C5E6871160}" type="presOf" srcId="{B824663D-817C-46C5-9FE3-A80952200CAD}" destId="{7997E9A3-9390-4EFE-BEA0-BC9E1FBE6014}" srcOrd="0" destOrd="0" presId="urn:microsoft.com/office/officeart/2005/8/layout/balance1"/>
    <dgm:cxn modelId="{76B2454D-8DB6-45CF-922A-9D9A5BFD58E4}" srcId="{3FD7B1AF-B2C5-45BA-BD61-E44C62C2CEC9}" destId="{5411087B-E9E3-456A-B8A5-11276E94CCCF}" srcOrd="0" destOrd="0" parTransId="{90C57A72-884D-4AD7-BD1C-853773CEA254}" sibTransId="{7565577F-6C9C-4882-BADC-1099110A80F5}"/>
    <dgm:cxn modelId="{2573F94F-CA47-4061-8AFE-469100E348D3}" srcId="{3C853FCD-B572-48B6-AEFB-D5A872C209B7}" destId="{6A5DF574-10C7-4804-B8F1-C6F46CD7AD20}" srcOrd="1" destOrd="0" parTransId="{782A525B-25C8-4192-B348-719539846220}" sibTransId="{176D687F-9A83-436F-98D8-AA751B0B94DE}"/>
    <dgm:cxn modelId="{CC53C2A6-6150-45E5-97A4-09BE6D71920E}" type="presOf" srcId="{3FD7B1AF-B2C5-45BA-BD61-E44C62C2CEC9}" destId="{C1E69C32-80CF-4D2D-955A-C6FC67114176}" srcOrd="0" destOrd="0" presId="urn:microsoft.com/office/officeart/2005/8/layout/balance1"/>
    <dgm:cxn modelId="{B224E5C8-CF1F-4661-867D-8C5A8CA6F163}" srcId="{3FD7B1AF-B2C5-45BA-BD61-E44C62C2CEC9}" destId="{3C853FCD-B572-48B6-AEFB-D5A872C209B7}" srcOrd="1" destOrd="0" parTransId="{5E27CADC-DCD9-4D54-85A0-40CBDBAE39C8}" sibTransId="{B6A31839-7A82-4DA3-AB60-F8CFABEACBA9}"/>
    <dgm:cxn modelId="{D1C92CEC-C3D6-4C84-8CE7-4DBAA55E2B7F}" type="presOf" srcId="{80E581DF-5BE5-4E97-B13A-B7260E1FB571}" destId="{FE7FEC95-79C4-4823-8A9A-138F14D05921}" srcOrd="0" destOrd="0" presId="urn:microsoft.com/office/officeart/2005/8/layout/balance1"/>
    <dgm:cxn modelId="{1ABE17F1-95EB-4AA5-9AC2-6547754FF144}" srcId="{5411087B-E9E3-456A-B8A5-11276E94CCCF}" destId="{80E581DF-5BE5-4E97-B13A-B7260E1FB571}" srcOrd="0" destOrd="0" parTransId="{E40D52AD-DCBB-4654-B3A9-87D14A80288E}" sibTransId="{EFCFD3C6-108E-4D92-8F26-EE1E8BD40415}"/>
    <dgm:cxn modelId="{2A82386D-83C7-428D-89EC-07DCA6DEFB83}" type="presParOf" srcId="{C1E69C32-80CF-4D2D-955A-C6FC67114176}" destId="{98AF9AE4-7733-42EC-B022-58BABD15ACF5}" srcOrd="0" destOrd="0" presId="urn:microsoft.com/office/officeart/2005/8/layout/balance1"/>
    <dgm:cxn modelId="{435650C2-9A75-42F5-8C41-04B5FADB5863}" type="presParOf" srcId="{C1E69C32-80CF-4D2D-955A-C6FC67114176}" destId="{EDA92BAC-DB5D-4DFF-87E2-A2E2676C7A74}" srcOrd="1" destOrd="0" presId="urn:microsoft.com/office/officeart/2005/8/layout/balance1"/>
    <dgm:cxn modelId="{6E9F69D7-C066-4AE7-BB5E-D4FF590B5C53}" type="presParOf" srcId="{EDA92BAC-DB5D-4DFF-87E2-A2E2676C7A74}" destId="{CBC40B62-37AB-4369-9E77-148940E7326E}" srcOrd="0" destOrd="0" presId="urn:microsoft.com/office/officeart/2005/8/layout/balance1"/>
    <dgm:cxn modelId="{B975E90D-19B8-4323-B9E1-FF48D7BD040D}" type="presParOf" srcId="{EDA92BAC-DB5D-4DFF-87E2-A2E2676C7A74}" destId="{ED84B430-E144-430B-85DB-76D40D860EE8}" srcOrd="1" destOrd="0" presId="urn:microsoft.com/office/officeart/2005/8/layout/balance1"/>
    <dgm:cxn modelId="{D68F785D-69D3-48B3-A31F-218B399D2845}" type="presParOf" srcId="{C1E69C32-80CF-4D2D-955A-C6FC67114176}" destId="{F4393C67-B471-4BCC-9344-5F4DFCE4AEDF}" srcOrd="2" destOrd="0" presId="urn:microsoft.com/office/officeart/2005/8/layout/balance1"/>
    <dgm:cxn modelId="{066CEA09-0CA5-497E-9372-BBE3E80E879A}" type="presParOf" srcId="{F4393C67-B471-4BCC-9344-5F4DFCE4AEDF}" destId="{AB9528FE-8B58-4FF7-8362-F489756207C1}" srcOrd="0" destOrd="0" presId="urn:microsoft.com/office/officeart/2005/8/layout/balance1"/>
    <dgm:cxn modelId="{1251EA51-2AC6-486B-9B20-30C3B10C1229}" type="presParOf" srcId="{F4393C67-B471-4BCC-9344-5F4DFCE4AEDF}" destId="{6280F2B4-A026-45A5-AE8C-FFF9DB0FBC20}" srcOrd="1" destOrd="0" presId="urn:microsoft.com/office/officeart/2005/8/layout/balance1"/>
    <dgm:cxn modelId="{6580C9E7-944A-4416-800F-952D6BC20294}" type="presParOf" srcId="{F4393C67-B471-4BCC-9344-5F4DFCE4AEDF}" destId="{63CE1F18-74FB-4A06-9632-9DE3CF1AA884}" srcOrd="2" destOrd="0" presId="urn:microsoft.com/office/officeart/2005/8/layout/balance1"/>
    <dgm:cxn modelId="{21B06ABA-0C4F-464A-9E06-37137A2D30B9}" type="presParOf" srcId="{F4393C67-B471-4BCC-9344-5F4DFCE4AEDF}" destId="{7997E9A3-9390-4EFE-BEA0-BC9E1FBE6014}" srcOrd="3" destOrd="0" presId="urn:microsoft.com/office/officeart/2005/8/layout/balance1"/>
    <dgm:cxn modelId="{9A6CD9D3-D177-47A4-8D4D-1A69EB4E644F}" type="presParOf" srcId="{F4393C67-B471-4BCC-9344-5F4DFCE4AEDF}" destId="{C9B2498B-8C84-41A3-9922-ADB3EF5A3A9E}" srcOrd="4" destOrd="0" presId="urn:microsoft.com/office/officeart/2005/8/layout/balance1"/>
    <dgm:cxn modelId="{9F6A30A1-1842-4D38-A1A5-3BED3B5D9284}" type="presParOf" srcId="{F4393C67-B471-4BCC-9344-5F4DFCE4AEDF}" destId="{FE7FEC95-79C4-4823-8A9A-138F14D05921}" srcOrd="5" destOrd="0" presId="urn:microsoft.com/office/officeart/2005/8/layout/balance1"/>
    <dgm:cxn modelId="{1A29D826-4D79-4A53-834A-8A23E895BACB}" type="presParOf" srcId="{F4393C67-B471-4BCC-9344-5F4DFCE4AEDF}" destId="{6ED9110D-5561-41F7-8F5E-BE71C00B38F5}" srcOrd="6"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fr-FR"/>
        </a:p>
      </dgm:t>
    </dgm:pt>
    <dgm:pt modelId="{7246902C-F380-4244-A491-559EECE887E9}">
      <dgm:prSet phldrT="[Texte]"/>
      <dgm:spPr/>
      <dgm:t>
        <a:bodyPr/>
        <a:lstStyle/>
        <a:p>
          <a:r>
            <a:rPr lang="fr-FR" dirty="0">
              <a:latin typeface="Arial" panose="020B0604020202020204" pitchFamily="34" charset="0"/>
              <a:cs typeface="Arial" panose="020B0604020202020204" pitchFamily="34" charset="0"/>
            </a:rPr>
            <a:t>La comptabilité = </a:t>
          </a:r>
          <a:r>
            <a:rPr lang="fr-FR" b="0" i="0" dirty="0">
              <a:latin typeface="Arial" panose="020B0604020202020204" pitchFamily="34" charset="0"/>
              <a:cs typeface="Arial" panose="020B0604020202020204" pitchFamily="34" charset="0"/>
            </a:rPr>
            <a:t>langage + système d’information</a:t>
          </a:r>
        </a:p>
        <a:p>
          <a:r>
            <a:rPr lang="fr-FR" b="0" i="0" dirty="0">
              <a:latin typeface="Arial" panose="020B0604020202020204" pitchFamily="34" charset="0"/>
              <a:cs typeface="Arial" panose="020B0604020202020204" pitchFamily="34" charset="0"/>
            </a:rPr>
            <a:t>Elle sert à communiquer</a:t>
          </a:r>
        </a:p>
        <a:p>
          <a:r>
            <a:rPr lang="fr-FR" b="0" i="0" dirty="0">
              <a:latin typeface="Arial" panose="020B0604020202020204" pitchFamily="34" charset="0"/>
              <a:cs typeface="Arial" panose="020B0604020202020204" pitchFamily="34" charset="0"/>
            </a:rPr>
            <a:t>Objectif : établir les états financiers (Bilan, Compte de résultat et Annexes) selon des règles reconnues par tous</a:t>
          </a:r>
          <a:endParaRPr lang="fr-FR" dirty="0">
            <a:latin typeface="Arial" panose="020B0604020202020204" pitchFamily="34" charset="0"/>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E09E0457-75FF-4CC5-ACDD-DC23C6C27867}" type="pres">
      <dgm:prSet presAssocID="{787C544D-3023-4F60-B53C-768C848DCD54}" presName="outerComposite" presStyleCnt="0">
        <dgm:presLayoutVars>
          <dgm:chMax val="5"/>
          <dgm:dir/>
          <dgm:resizeHandles val="exact"/>
        </dgm:presLayoutVars>
      </dgm:prSet>
      <dgm:spPr/>
    </dgm:pt>
    <dgm:pt modelId="{0EB909FA-3E83-4472-B156-6405693699CD}" type="pres">
      <dgm:prSet presAssocID="{787C544D-3023-4F60-B53C-768C848DCD54}" presName="dummyMaxCanvas" presStyleCnt="0">
        <dgm:presLayoutVars/>
      </dgm:prSet>
      <dgm:spPr/>
    </dgm:pt>
    <dgm:pt modelId="{7F4B4098-570F-4890-A54C-721607CE468C}" type="pres">
      <dgm:prSet presAssocID="{787C544D-3023-4F60-B53C-768C848DCD54}" presName="OneNode_1" presStyleLbl="node1" presStyleIdx="0" presStyleCnt="1">
        <dgm:presLayoutVars>
          <dgm:bulletEnabled val="1"/>
        </dgm:presLayoutVars>
      </dgm:prSet>
      <dgm:spPr/>
    </dgm:pt>
  </dgm:ptLst>
  <dgm:cxnLst>
    <dgm:cxn modelId="{4826CC48-60AE-4276-B66F-CECE3DE7F140}" type="presOf" srcId="{787C544D-3023-4F60-B53C-768C848DCD54}" destId="{E09E0457-75FF-4CC5-ACDD-DC23C6C27867}" srcOrd="0" destOrd="0" presId="urn:microsoft.com/office/officeart/2005/8/layout/vProcess5"/>
    <dgm:cxn modelId="{1E66AF7F-AB9D-47D9-BE50-8858B0C7DDDC}" type="presOf" srcId="{7246902C-F380-4244-A491-559EECE887E9}" destId="{7F4B4098-570F-4890-A54C-721607CE468C}"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FF50C912-224B-410A-BCC5-0460D63DCC60}" type="presParOf" srcId="{E09E0457-75FF-4CC5-ACDD-DC23C6C27867}" destId="{0EB909FA-3E83-4472-B156-6405693699CD}" srcOrd="0" destOrd="0" presId="urn:microsoft.com/office/officeart/2005/8/layout/vProcess5"/>
    <dgm:cxn modelId="{93D20FDF-1AAD-4386-A63C-B4F3862EAB7E}" type="presParOf" srcId="{E09E0457-75FF-4CC5-ACDD-DC23C6C27867}" destId="{7F4B4098-570F-4890-A54C-721607CE468C}"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A56693-C0D3-42BE-816E-C5C3227F2A9D}" type="doc">
      <dgm:prSet loTypeId="urn:microsoft.com/office/officeart/2005/8/layout/hierarchy1" loCatId="hierarchy" qsTypeId="urn:microsoft.com/office/officeart/2005/8/quickstyle/simple1" qsCatId="simple" csTypeId="urn:microsoft.com/office/officeart/2005/8/colors/accent1_2" csCatId="accent1"/>
      <dgm:spPr/>
      <dgm:t>
        <a:bodyPr/>
        <a:lstStyle/>
        <a:p>
          <a:endParaRPr lang="en-US"/>
        </a:p>
      </dgm:t>
    </dgm:pt>
    <dgm:pt modelId="{DFD5A27B-2547-4045-AF30-91B5098A0F04}">
      <dgm:prSet/>
      <dgm:spPr/>
      <dgm:t>
        <a:bodyPr/>
        <a:lstStyle/>
        <a:p>
          <a:r>
            <a:rPr lang="en-US"/>
            <a:t>Le plan comptable general</a:t>
          </a:r>
        </a:p>
      </dgm:t>
    </dgm:pt>
    <dgm:pt modelId="{DFB1FE1E-84B1-4875-9AC6-9F81CF494CB4}" type="parTrans" cxnId="{A627644E-95D3-4332-A6D0-C888AB7E0E8D}">
      <dgm:prSet/>
      <dgm:spPr/>
      <dgm:t>
        <a:bodyPr/>
        <a:lstStyle/>
        <a:p>
          <a:endParaRPr lang="en-US"/>
        </a:p>
      </dgm:t>
    </dgm:pt>
    <dgm:pt modelId="{4C140297-1432-4191-8CFC-2FED6D28A0D9}" type="sibTrans" cxnId="{A627644E-95D3-4332-A6D0-C888AB7E0E8D}">
      <dgm:prSet/>
      <dgm:spPr/>
      <dgm:t>
        <a:bodyPr/>
        <a:lstStyle/>
        <a:p>
          <a:endParaRPr lang="en-US"/>
        </a:p>
      </dgm:t>
    </dgm:pt>
    <dgm:pt modelId="{5670F998-42FB-437C-A4CC-AE6BB7802800}">
      <dgm:prSet/>
      <dgm:spPr/>
      <dgm:t>
        <a:bodyPr/>
        <a:lstStyle/>
        <a:p>
          <a:r>
            <a:rPr lang="en-US"/>
            <a:t>La liste abrégée</a:t>
          </a:r>
        </a:p>
      </dgm:t>
    </dgm:pt>
    <dgm:pt modelId="{D08DF18B-F31B-47F1-83BE-13826EBD9AC5}" type="parTrans" cxnId="{3E110283-9C4A-4D0F-85DD-531CC3FA6C5C}">
      <dgm:prSet/>
      <dgm:spPr/>
      <dgm:t>
        <a:bodyPr/>
        <a:lstStyle/>
        <a:p>
          <a:endParaRPr lang="en-US"/>
        </a:p>
      </dgm:t>
    </dgm:pt>
    <dgm:pt modelId="{2AA2FD1F-6CD1-4761-87FB-413D1472C6D3}" type="sibTrans" cxnId="{3E110283-9C4A-4D0F-85DD-531CC3FA6C5C}">
      <dgm:prSet/>
      <dgm:spPr/>
      <dgm:t>
        <a:bodyPr/>
        <a:lstStyle/>
        <a:p>
          <a:endParaRPr lang="en-US"/>
        </a:p>
      </dgm:t>
    </dgm:pt>
    <dgm:pt modelId="{6D2248A3-5D6F-4A89-ABE6-0B1577F35E41}" type="pres">
      <dgm:prSet presAssocID="{76A56693-C0D3-42BE-816E-C5C3227F2A9D}" presName="hierChild1" presStyleCnt="0">
        <dgm:presLayoutVars>
          <dgm:chPref val="1"/>
          <dgm:dir/>
          <dgm:animOne val="branch"/>
          <dgm:animLvl val="lvl"/>
          <dgm:resizeHandles/>
        </dgm:presLayoutVars>
      </dgm:prSet>
      <dgm:spPr/>
    </dgm:pt>
    <dgm:pt modelId="{8F8F91CC-2823-4569-A038-05D397523EB7}" type="pres">
      <dgm:prSet presAssocID="{DFD5A27B-2547-4045-AF30-91B5098A0F04}" presName="hierRoot1" presStyleCnt="0"/>
      <dgm:spPr/>
    </dgm:pt>
    <dgm:pt modelId="{7B72940F-CC82-4E37-ACAE-FF4BA42F7B88}" type="pres">
      <dgm:prSet presAssocID="{DFD5A27B-2547-4045-AF30-91B5098A0F04}" presName="composite" presStyleCnt="0"/>
      <dgm:spPr/>
    </dgm:pt>
    <dgm:pt modelId="{AD60F32E-F128-4007-86D0-18B1ADC22BEC}" type="pres">
      <dgm:prSet presAssocID="{DFD5A27B-2547-4045-AF30-91B5098A0F04}" presName="background" presStyleLbl="node0" presStyleIdx="0" presStyleCnt="2"/>
      <dgm:spPr/>
    </dgm:pt>
    <dgm:pt modelId="{00790600-121B-4230-A11C-F5C6CD593A36}" type="pres">
      <dgm:prSet presAssocID="{DFD5A27B-2547-4045-AF30-91B5098A0F04}" presName="text" presStyleLbl="fgAcc0" presStyleIdx="0" presStyleCnt="2">
        <dgm:presLayoutVars>
          <dgm:chPref val="3"/>
        </dgm:presLayoutVars>
      </dgm:prSet>
      <dgm:spPr/>
    </dgm:pt>
    <dgm:pt modelId="{2E231E19-FF6C-4FD2-A0CB-AD5D1E83158D}" type="pres">
      <dgm:prSet presAssocID="{DFD5A27B-2547-4045-AF30-91B5098A0F04}" presName="hierChild2" presStyleCnt="0"/>
      <dgm:spPr/>
    </dgm:pt>
    <dgm:pt modelId="{D3E638BB-D855-46A2-90ED-F0FFBA24682A}" type="pres">
      <dgm:prSet presAssocID="{5670F998-42FB-437C-A4CC-AE6BB7802800}" presName="hierRoot1" presStyleCnt="0"/>
      <dgm:spPr/>
    </dgm:pt>
    <dgm:pt modelId="{1D65D094-4926-4CB8-BBE0-6F34EC28F325}" type="pres">
      <dgm:prSet presAssocID="{5670F998-42FB-437C-A4CC-AE6BB7802800}" presName="composite" presStyleCnt="0"/>
      <dgm:spPr/>
    </dgm:pt>
    <dgm:pt modelId="{98E64413-4A92-4FF2-A7AB-0D641E733D7A}" type="pres">
      <dgm:prSet presAssocID="{5670F998-42FB-437C-A4CC-AE6BB7802800}" presName="background" presStyleLbl="node0" presStyleIdx="1" presStyleCnt="2"/>
      <dgm:spPr/>
    </dgm:pt>
    <dgm:pt modelId="{19CB8C87-9047-485C-9BFD-16F9A0E917D2}" type="pres">
      <dgm:prSet presAssocID="{5670F998-42FB-437C-A4CC-AE6BB7802800}" presName="text" presStyleLbl="fgAcc0" presStyleIdx="1" presStyleCnt="2">
        <dgm:presLayoutVars>
          <dgm:chPref val="3"/>
        </dgm:presLayoutVars>
      </dgm:prSet>
      <dgm:spPr/>
    </dgm:pt>
    <dgm:pt modelId="{393DD948-B0D5-4196-B30D-B4954CACE0ED}" type="pres">
      <dgm:prSet presAssocID="{5670F998-42FB-437C-A4CC-AE6BB7802800}" presName="hierChild2" presStyleCnt="0"/>
      <dgm:spPr/>
    </dgm:pt>
  </dgm:ptLst>
  <dgm:cxnLst>
    <dgm:cxn modelId="{A627644E-95D3-4332-A6D0-C888AB7E0E8D}" srcId="{76A56693-C0D3-42BE-816E-C5C3227F2A9D}" destId="{DFD5A27B-2547-4045-AF30-91B5098A0F04}" srcOrd="0" destOrd="0" parTransId="{DFB1FE1E-84B1-4875-9AC6-9F81CF494CB4}" sibTransId="{4C140297-1432-4191-8CFC-2FED6D28A0D9}"/>
    <dgm:cxn modelId="{3E110283-9C4A-4D0F-85DD-531CC3FA6C5C}" srcId="{76A56693-C0D3-42BE-816E-C5C3227F2A9D}" destId="{5670F998-42FB-437C-A4CC-AE6BB7802800}" srcOrd="1" destOrd="0" parTransId="{D08DF18B-F31B-47F1-83BE-13826EBD9AC5}" sibTransId="{2AA2FD1F-6CD1-4761-87FB-413D1472C6D3}"/>
    <dgm:cxn modelId="{A9D0AD8B-7ECB-48EE-8BC0-62B61D72E367}" type="presOf" srcId="{76A56693-C0D3-42BE-816E-C5C3227F2A9D}" destId="{6D2248A3-5D6F-4A89-ABE6-0B1577F35E41}" srcOrd="0" destOrd="0" presId="urn:microsoft.com/office/officeart/2005/8/layout/hierarchy1"/>
    <dgm:cxn modelId="{4F72068F-268C-48B3-A79E-C7B425DD03F9}" type="presOf" srcId="{5670F998-42FB-437C-A4CC-AE6BB7802800}" destId="{19CB8C87-9047-485C-9BFD-16F9A0E917D2}" srcOrd="0" destOrd="0" presId="urn:microsoft.com/office/officeart/2005/8/layout/hierarchy1"/>
    <dgm:cxn modelId="{734CCAFE-70C8-4CF0-ACA2-A59FADD5297A}" type="presOf" srcId="{DFD5A27B-2547-4045-AF30-91B5098A0F04}" destId="{00790600-121B-4230-A11C-F5C6CD593A36}" srcOrd="0" destOrd="0" presId="urn:microsoft.com/office/officeart/2005/8/layout/hierarchy1"/>
    <dgm:cxn modelId="{3BFD758F-01BD-40E8-BD04-47A786F697A6}" type="presParOf" srcId="{6D2248A3-5D6F-4A89-ABE6-0B1577F35E41}" destId="{8F8F91CC-2823-4569-A038-05D397523EB7}" srcOrd="0" destOrd="0" presId="urn:microsoft.com/office/officeart/2005/8/layout/hierarchy1"/>
    <dgm:cxn modelId="{877465E4-94AA-4757-BBC3-2E1868115E96}" type="presParOf" srcId="{8F8F91CC-2823-4569-A038-05D397523EB7}" destId="{7B72940F-CC82-4E37-ACAE-FF4BA42F7B88}" srcOrd="0" destOrd="0" presId="urn:microsoft.com/office/officeart/2005/8/layout/hierarchy1"/>
    <dgm:cxn modelId="{68BF2CF7-5416-47B0-A595-005A772E4FC2}" type="presParOf" srcId="{7B72940F-CC82-4E37-ACAE-FF4BA42F7B88}" destId="{AD60F32E-F128-4007-86D0-18B1ADC22BEC}" srcOrd="0" destOrd="0" presId="urn:microsoft.com/office/officeart/2005/8/layout/hierarchy1"/>
    <dgm:cxn modelId="{C1FC14E0-2988-4D2F-9869-ABB44CA83B69}" type="presParOf" srcId="{7B72940F-CC82-4E37-ACAE-FF4BA42F7B88}" destId="{00790600-121B-4230-A11C-F5C6CD593A36}" srcOrd="1" destOrd="0" presId="urn:microsoft.com/office/officeart/2005/8/layout/hierarchy1"/>
    <dgm:cxn modelId="{E4C1E9D3-0A4C-45E0-9C25-B8CA8E5ADC23}" type="presParOf" srcId="{8F8F91CC-2823-4569-A038-05D397523EB7}" destId="{2E231E19-FF6C-4FD2-A0CB-AD5D1E83158D}" srcOrd="1" destOrd="0" presId="urn:microsoft.com/office/officeart/2005/8/layout/hierarchy1"/>
    <dgm:cxn modelId="{38964FEF-2D4C-44B3-A3E9-8D829485CD1F}" type="presParOf" srcId="{6D2248A3-5D6F-4A89-ABE6-0B1577F35E41}" destId="{D3E638BB-D855-46A2-90ED-F0FFBA24682A}" srcOrd="1" destOrd="0" presId="urn:microsoft.com/office/officeart/2005/8/layout/hierarchy1"/>
    <dgm:cxn modelId="{59E640C9-A592-42C5-9DC0-30654ACE42CB}" type="presParOf" srcId="{D3E638BB-D855-46A2-90ED-F0FFBA24682A}" destId="{1D65D094-4926-4CB8-BBE0-6F34EC28F325}" srcOrd="0" destOrd="0" presId="urn:microsoft.com/office/officeart/2005/8/layout/hierarchy1"/>
    <dgm:cxn modelId="{BC3819D6-B647-4CFD-A28F-6D3F2B2E98DA}" type="presParOf" srcId="{1D65D094-4926-4CB8-BBE0-6F34EC28F325}" destId="{98E64413-4A92-4FF2-A7AB-0D641E733D7A}" srcOrd="0" destOrd="0" presId="urn:microsoft.com/office/officeart/2005/8/layout/hierarchy1"/>
    <dgm:cxn modelId="{1F591DC7-366D-4982-8103-360D15492991}" type="presParOf" srcId="{1D65D094-4926-4CB8-BBE0-6F34EC28F325}" destId="{19CB8C87-9047-485C-9BFD-16F9A0E917D2}" srcOrd="1" destOrd="0" presId="urn:microsoft.com/office/officeart/2005/8/layout/hierarchy1"/>
    <dgm:cxn modelId="{4036C538-5920-410A-9A5A-BF74FD3D38E7}" type="presParOf" srcId="{D3E638BB-D855-46A2-90ED-F0FFBA24682A}" destId="{393DD948-B0D5-4196-B30D-B4954CACE0ED}"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fr-FR"/>
        </a:p>
      </dgm:t>
    </dgm:pt>
    <dgm:pt modelId="{7246902C-F380-4244-A491-559EECE887E9}">
      <dgm:prSet phldrT="[Texte]" custT="1"/>
      <dgm:spPr/>
      <dgm:t>
        <a:bodyPr/>
        <a:lstStyle/>
        <a:p>
          <a:r>
            <a:rPr lang="fr-FR" sz="2000" b="0" i="0" kern="1200" dirty="0">
              <a:solidFill>
                <a:schemeClr val="bg1"/>
              </a:solidFill>
              <a:effectLst/>
              <a:latin typeface="Arial" panose="020B0604020202020204" pitchFamily="34" charset="0"/>
              <a:ea typeface="+mn-ea"/>
              <a:cs typeface="Arial" panose="020B0604020202020204" pitchFamily="34" charset="0"/>
            </a:rPr>
            <a:t>Le PCG rappelle les objets et les principes de la </a:t>
          </a:r>
          <a:r>
            <a:rPr lang="fr-FR" sz="2000" b="0" i="0" kern="1200" dirty="0">
              <a:solidFill>
                <a:schemeClr val="bg1"/>
              </a:solidFill>
              <a:effectLst/>
              <a:latin typeface="Arial" panose="020B0604020202020204" pitchFamily="34" charset="0"/>
              <a:ea typeface="+mn-ea"/>
              <a:cs typeface="Arial" panose="020B0604020202020204" pitchFamily="34" charset="0"/>
              <a:hlinkClick xmlns:r="http://schemas.openxmlformats.org/officeDocument/2006/relationships" r:id="rId1" tooltip="Comptabilité">
                <a:extLst>
                  <a:ext uri="{A12FA001-AC4F-418D-AE19-62706E023703}">
                    <ahyp:hlinkClr xmlns:ahyp="http://schemas.microsoft.com/office/drawing/2018/hyperlinkcolor" val="tx"/>
                  </a:ext>
                </a:extLst>
              </a:hlinkClick>
            </a:rPr>
            <a:t>comptabilité</a:t>
          </a:r>
          <a:r>
            <a:rPr lang="fr-FR" sz="2000" b="0" i="0" kern="1200" dirty="0">
              <a:solidFill>
                <a:schemeClr val="bg1"/>
              </a:solidFill>
              <a:effectLst/>
              <a:latin typeface="Arial" panose="020B0604020202020204" pitchFamily="34" charset="0"/>
              <a:ea typeface="+mn-ea"/>
              <a:cs typeface="Arial" panose="020B0604020202020204" pitchFamily="34" charset="0"/>
            </a:rPr>
            <a:t> ;</a:t>
          </a: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9BD7A9AD-7522-49B9-A35D-80DF88DDCAFB}">
      <dgm:prSet phldrT="[Texte]"/>
      <dgm:spPr/>
    </dgm:pt>
    <dgm:pt modelId="{349DDCD6-81D9-4A82-ADC3-998974D896CE}" type="parTrans" cxnId="{9A126FFE-EAFC-45CE-9B3A-BFBC1B7F3BE5}">
      <dgm:prSet/>
      <dgm:spPr/>
      <dgm:t>
        <a:bodyPr/>
        <a:lstStyle/>
        <a:p>
          <a:endParaRPr lang="fr-FR"/>
        </a:p>
      </dgm:t>
    </dgm:pt>
    <dgm:pt modelId="{424C164D-54D5-45D2-808D-81F87859067C}" type="sibTrans" cxnId="{9A126FFE-EAFC-45CE-9B3A-BFBC1B7F3BE5}">
      <dgm:prSet/>
      <dgm:spPr/>
      <dgm:t>
        <a:bodyPr/>
        <a:lstStyle/>
        <a:p>
          <a:endParaRPr lang="fr-FR"/>
        </a:p>
      </dgm:t>
    </dgm:pt>
    <dgm:pt modelId="{4AAFE2FF-9F1B-4AC6-8F43-0DB9F3FBDC0E}">
      <dgm:prSet phldrT="[Texte]"/>
      <dgm:spPr/>
    </dgm:pt>
    <dgm:pt modelId="{43D2A3A3-FD2F-46A1-BDE5-6A80759FD30E}" type="parTrans" cxnId="{20ADBB3A-A76B-4F29-98FE-BFD56AA40781}">
      <dgm:prSet/>
      <dgm:spPr/>
      <dgm:t>
        <a:bodyPr/>
        <a:lstStyle/>
        <a:p>
          <a:endParaRPr lang="fr-FR"/>
        </a:p>
      </dgm:t>
    </dgm:pt>
    <dgm:pt modelId="{AA58E3A0-0AF8-4B82-A5DE-76C1B026AE6A}" type="sibTrans" cxnId="{20ADBB3A-A76B-4F29-98FE-BFD56AA40781}">
      <dgm:prSet/>
      <dgm:spPr/>
      <dgm:t>
        <a:bodyPr/>
        <a:lstStyle/>
        <a:p>
          <a:endParaRPr lang="fr-FR"/>
        </a:p>
      </dgm:t>
    </dgm:pt>
    <dgm:pt modelId="{02ECDC87-5383-4E7F-96F9-B4CFF9C860B7}">
      <dgm:prSet phldrT="[Texte]"/>
      <dgm:spPr/>
    </dgm:pt>
    <dgm:pt modelId="{0D9B2607-0CD4-4332-9C7A-94095BC79DD2}" type="parTrans" cxnId="{7D67D756-A6AE-4662-A5A8-401387A77362}">
      <dgm:prSet/>
      <dgm:spPr/>
      <dgm:t>
        <a:bodyPr/>
        <a:lstStyle/>
        <a:p>
          <a:endParaRPr lang="fr-FR"/>
        </a:p>
      </dgm:t>
    </dgm:pt>
    <dgm:pt modelId="{268E873A-1CBA-4C4E-B1DE-EE2DD0AFD62F}" type="sibTrans" cxnId="{7D67D756-A6AE-4662-A5A8-401387A77362}">
      <dgm:prSet/>
      <dgm:spPr/>
      <dgm:t>
        <a:bodyPr/>
        <a:lstStyle/>
        <a:p>
          <a:endParaRPr lang="fr-FR"/>
        </a:p>
      </dgm:t>
    </dgm:pt>
    <dgm:pt modelId="{1D7B7400-3032-433F-88E8-FF0F26FEAB02}">
      <dgm:prSet custT="1"/>
      <dgm:spPr/>
      <dgm:t>
        <a:bodyPr/>
        <a:lstStyle/>
        <a:p>
          <a:pPr>
            <a:buFont typeface="Arial" panose="020B0604020202020204" pitchFamily="34" charset="0"/>
            <a:buChar char="•"/>
          </a:pPr>
          <a:r>
            <a:rPr lang="fr-FR" sz="1800" b="0" i="0" dirty="0">
              <a:solidFill>
                <a:schemeClr val="bg1"/>
              </a:solidFill>
            </a:rPr>
            <a:t>Le PCG définit les principales notions utilisées : </a:t>
          </a:r>
          <a:r>
            <a:rPr lang="fr-FR" sz="1800" b="0" i="0" dirty="0">
              <a:solidFill>
                <a:schemeClr val="bg1"/>
              </a:solidFill>
              <a:hlinkClick xmlns:r="http://schemas.openxmlformats.org/officeDocument/2006/relationships" r:id="rId2" tooltip="Bilan comptable">
                <a:extLst>
                  <a:ext uri="{A12FA001-AC4F-418D-AE19-62706E023703}">
                    <ahyp:hlinkClr xmlns:ahyp="http://schemas.microsoft.com/office/drawing/2018/hyperlinkcolor" val="tx"/>
                  </a:ext>
                </a:extLst>
              </a:hlinkClick>
            </a:rPr>
            <a:t>bilan</a:t>
          </a:r>
          <a:r>
            <a:rPr lang="fr-FR" sz="1800" b="0" i="0" dirty="0">
              <a:solidFill>
                <a:schemeClr val="bg1"/>
              </a:solidFill>
            </a:rPr>
            <a:t>, </a:t>
          </a:r>
          <a:r>
            <a:rPr lang="fr-FR" sz="1800" b="0" i="0" dirty="0">
              <a:solidFill>
                <a:schemeClr val="bg1"/>
              </a:solidFill>
              <a:hlinkClick xmlns:r="http://schemas.openxmlformats.org/officeDocument/2006/relationships" r:id="rId3" tooltip="Compte de résultat">
                <a:extLst>
                  <a:ext uri="{A12FA001-AC4F-418D-AE19-62706E023703}">
                    <ahyp:hlinkClr xmlns:ahyp="http://schemas.microsoft.com/office/drawing/2018/hyperlinkcolor" val="tx"/>
                  </a:ext>
                </a:extLst>
              </a:hlinkClick>
            </a:rPr>
            <a:t>compte de résultat</a:t>
          </a:r>
          <a:r>
            <a:rPr lang="fr-FR" sz="1800" b="0" i="0" dirty="0">
              <a:solidFill>
                <a:schemeClr val="bg1"/>
              </a:solidFill>
            </a:rPr>
            <a:t> et annexe, </a:t>
          </a:r>
          <a:r>
            <a:rPr lang="fr-FR" sz="1800" b="0" i="0" dirty="0">
              <a:solidFill>
                <a:schemeClr val="bg1"/>
              </a:solidFill>
              <a:hlinkClick xmlns:r="http://schemas.openxmlformats.org/officeDocument/2006/relationships" r:id="rId4" tooltip="Passif (comptabilité)">
                <a:extLst>
                  <a:ext uri="{A12FA001-AC4F-418D-AE19-62706E023703}">
                    <ahyp:hlinkClr xmlns:ahyp="http://schemas.microsoft.com/office/drawing/2018/hyperlinkcolor" val="tx"/>
                  </a:ext>
                </a:extLst>
              </a:hlinkClick>
            </a:rPr>
            <a:t>passif</a:t>
          </a:r>
          <a:r>
            <a:rPr lang="fr-FR" sz="1800" b="0" i="0" dirty="0">
              <a:solidFill>
                <a:schemeClr val="bg1"/>
              </a:solidFill>
            </a:rPr>
            <a:t> et </a:t>
          </a:r>
          <a:r>
            <a:rPr lang="fr-FR" sz="1800" b="0" i="0" dirty="0">
              <a:solidFill>
                <a:schemeClr val="bg1"/>
              </a:solidFill>
              <a:hlinkClick xmlns:r="http://schemas.openxmlformats.org/officeDocument/2006/relationships" r:id="rId5" tooltip="Actif (comptabilité)">
                <a:extLst>
                  <a:ext uri="{A12FA001-AC4F-418D-AE19-62706E023703}">
                    <ahyp:hlinkClr xmlns:ahyp="http://schemas.microsoft.com/office/drawing/2018/hyperlinkcolor" val="tx"/>
                  </a:ext>
                </a:extLst>
              </a:hlinkClick>
            </a:rPr>
            <a:t>actif</a:t>
          </a:r>
          <a:r>
            <a:rPr lang="fr-FR" sz="1800" b="0" i="0" dirty="0">
              <a:solidFill>
                <a:schemeClr val="bg1"/>
              </a:solidFill>
            </a:rPr>
            <a:t>, produits, charges et résultat, et présente les règles de comptabilisation et d'évaluation ;</a:t>
          </a:r>
        </a:p>
      </dgm:t>
    </dgm:pt>
    <dgm:pt modelId="{1BB368EA-BBFD-42AA-A357-6A39DAC12C63}" type="parTrans" cxnId="{8D07B484-2E4D-4524-9C82-889869EFFDD4}">
      <dgm:prSet/>
      <dgm:spPr/>
      <dgm:t>
        <a:bodyPr/>
        <a:lstStyle/>
        <a:p>
          <a:endParaRPr lang="fr-FR"/>
        </a:p>
      </dgm:t>
    </dgm:pt>
    <dgm:pt modelId="{5DFCFF23-5B9F-4403-8AA1-08A3E4ED3D96}" type="sibTrans" cxnId="{8D07B484-2E4D-4524-9C82-889869EFFDD4}">
      <dgm:prSet/>
      <dgm:spPr/>
      <dgm:t>
        <a:bodyPr/>
        <a:lstStyle/>
        <a:p>
          <a:endParaRPr lang="fr-FR"/>
        </a:p>
      </dgm:t>
    </dgm:pt>
    <dgm:pt modelId="{FB36C975-E19E-4C3A-8EEB-FDE8AD791C98}">
      <dgm:prSet/>
      <dgm:spPr/>
      <dgm:t>
        <a:bodyPr/>
        <a:lstStyle/>
        <a:p>
          <a:pPr>
            <a:buFont typeface="Arial" panose="020B0604020202020204" pitchFamily="34" charset="0"/>
            <a:buChar char="•"/>
          </a:pPr>
          <a:r>
            <a:rPr lang="fr-FR" b="0" i="0" dirty="0"/>
            <a:t>Le PCG précise les règles de tenue des comptes et fournit notamment la nomenclature complète des comptes</a:t>
          </a:r>
        </a:p>
      </dgm:t>
    </dgm:pt>
    <dgm:pt modelId="{39498F07-3828-4771-8117-B8739DD6EB93}" type="parTrans" cxnId="{373BF73B-2D52-4151-956D-EA34FAEE5DF2}">
      <dgm:prSet/>
      <dgm:spPr/>
      <dgm:t>
        <a:bodyPr/>
        <a:lstStyle/>
        <a:p>
          <a:endParaRPr lang="fr-FR"/>
        </a:p>
      </dgm:t>
    </dgm:pt>
    <dgm:pt modelId="{4B043B28-C968-4DF1-AA09-58E2EEC1348D}" type="sibTrans" cxnId="{373BF73B-2D52-4151-956D-EA34FAEE5DF2}">
      <dgm:prSet/>
      <dgm:spPr/>
      <dgm:t>
        <a:bodyPr/>
        <a:lstStyle/>
        <a:p>
          <a:endParaRPr lang="fr-FR"/>
        </a:p>
      </dgm:t>
    </dgm:pt>
    <dgm:pt modelId="{683B1A66-DB5B-4D64-A471-EE3CA8F06FD2}">
      <dgm:prSet/>
      <dgm:spPr/>
      <dgm:t>
        <a:bodyPr/>
        <a:lstStyle/>
        <a:p>
          <a:pPr>
            <a:buFont typeface="Arial" panose="020B0604020202020204" pitchFamily="34" charset="0"/>
            <a:buChar char="•"/>
          </a:pPr>
          <a:r>
            <a:rPr lang="fr-FR" b="0" i="0" dirty="0"/>
            <a:t>Le PCG décrit les documents de synthèse (comptes annuels) ;</a:t>
          </a:r>
        </a:p>
      </dgm:t>
    </dgm:pt>
    <dgm:pt modelId="{C9478E05-F48B-4696-9DBC-BB17544C3029}" type="parTrans" cxnId="{EB2228DA-F9E7-448B-B56C-B2471C1B90F1}">
      <dgm:prSet/>
      <dgm:spPr/>
      <dgm:t>
        <a:bodyPr/>
        <a:lstStyle/>
        <a:p>
          <a:endParaRPr lang="fr-FR"/>
        </a:p>
      </dgm:t>
    </dgm:pt>
    <dgm:pt modelId="{BCC0D6D2-25D3-493C-B554-6A9106128C83}" type="sibTrans" cxnId="{EB2228DA-F9E7-448B-B56C-B2471C1B90F1}">
      <dgm:prSet/>
      <dgm:spPr/>
      <dgm:t>
        <a:bodyPr/>
        <a:lstStyle/>
        <a:p>
          <a:endParaRPr lang="fr-FR"/>
        </a:p>
      </dgm:t>
    </dgm:pt>
    <dgm:pt modelId="{DDE895B6-A817-43D0-8D48-1B47CFEF998D}">
      <dgm:prSet/>
      <dgm:spPr/>
      <dgm:t>
        <a:bodyPr/>
        <a:lstStyle/>
        <a:p>
          <a:pPr>
            <a:buFont typeface="Arial" panose="020B0604020202020204" pitchFamily="34" charset="0"/>
            <a:buChar char="•"/>
          </a:pPr>
          <a:r>
            <a:rPr lang="fr-FR" b="0" i="0" dirty="0"/>
            <a:t>Le PCG reprend en annexe certaines règles de comptabilisation particulières, </a:t>
          </a:r>
        </a:p>
      </dgm:t>
    </dgm:pt>
    <dgm:pt modelId="{52804109-6994-4180-9710-80BAD302D3A7}" type="parTrans" cxnId="{5D5096EA-A1FA-4B82-AE8D-00372354141C}">
      <dgm:prSet/>
      <dgm:spPr/>
      <dgm:t>
        <a:bodyPr/>
        <a:lstStyle/>
        <a:p>
          <a:endParaRPr lang="fr-FR"/>
        </a:p>
      </dgm:t>
    </dgm:pt>
    <dgm:pt modelId="{40CFBD02-7C57-4012-A37B-A09F249F153C}" type="sibTrans" cxnId="{5D5096EA-A1FA-4B82-AE8D-00372354141C}">
      <dgm:prSet/>
      <dgm:spPr/>
      <dgm:t>
        <a:bodyPr/>
        <a:lstStyle/>
        <a:p>
          <a:endParaRPr lang="fr-FR"/>
        </a:p>
      </dgm:t>
    </dgm:pt>
    <dgm:pt modelId="{E09E0457-75FF-4CC5-ACDD-DC23C6C27867}" type="pres">
      <dgm:prSet presAssocID="{787C544D-3023-4F60-B53C-768C848DCD54}" presName="outerComposite" presStyleCnt="0">
        <dgm:presLayoutVars>
          <dgm:chMax val="5"/>
          <dgm:dir/>
          <dgm:resizeHandles val="exact"/>
        </dgm:presLayoutVars>
      </dgm:prSet>
      <dgm:spPr/>
    </dgm:pt>
    <dgm:pt modelId="{0EB909FA-3E83-4472-B156-6405693699CD}" type="pres">
      <dgm:prSet presAssocID="{787C544D-3023-4F60-B53C-768C848DCD54}" presName="dummyMaxCanvas" presStyleCnt="0">
        <dgm:presLayoutVars/>
      </dgm:prSet>
      <dgm:spPr/>
    </dgm:pt>
    <dgm:pt modelId="{94D3E854-24C4-40BA-8F8B-4429261A2642}" type="pres">
      <dgm:prSet presAssocID="{787C544D-3023-4F60-B53C-768C848DCD54}" presName="FiveNodes_1" presStyleLbl="node1" presStyleIdx="0" presStyleCnt="5">
        <dgm:presLayoutVars>
          <dgm:bulletEnabled val="1"/>
        </dgm:presLayoutVars>
      </dgm:prSet>
      <dgm:spPr/>
    </dgm:pt>
    <dgm:pt modelId="{B6C4E33E-F905-4F29-B298-28917DFBEAA2}" type="pres">
      <dgm:prSet presAssocID="{787C544D-3023-4F60-B53C-768C848DCD54}" presName="FiveNodes_2" presStyleLbl="node1" presStyleIdx="1" presStyleCnt="5">
        <dgm:presLayoutVars>
          <dgm:bulletEnabled val="1"/>
        </dgm:presLayoutVars>
      </dgm:prSet>
      <dgm:spPr/>
    </dgm:pt>
    <dgm:pt modelId="{58DC2CC5-B767-45B5-8E7D-C43EB70635B6}" type="pres">
      <dgm:prSet presAssocID="{787C544D-3023-4F60-B53C-768C848DCD54}" presName="FiveNodes_3" presStyleLbl="node1" presStyleIdx="2" presStyleCnt="5">
        <dgm:presLayoutVars>
          <dgm:bulletEnabled val="1"/>
        </dgm:presLayoutVars>
      </dgm:prSet>
      <dgm:spPr/>
    </dgm:pt>
    <dgm:pt modelId="{7E003039-4E07-475B-9B0A-542702F96900}" type="pres">
      <dgm:prSet presAssocID="{787C544D-3023-4F60-B53C-768C848DCD54}" presName="FiveNodes_4" presStyleLbl="node1" presStyleIdx="3" presStyleCnt="5">
        <dgm:presLayoutVars>
          <dgm:bulletEnabled val="1"/>
        </dgm:presLayoutVars>
      </dgm:prSet>
      <dgm:spPr/>
    </dgm:pt>
    <dgm:pt modelId="{E966EB57-D218-4B99-B6DB-45BD4607FD93}" type="pres">
      <dgm:prSet presAssocID="{787C544D-3023-4F60-B53C-768C848DCD54}" presName="FiveNodes_5" presStyleLbl="node1" presStyleIdx="4" presStyleCnt="5">
        <dgm:presLayoutVars>
          <dgm:bulletEnabled val="1"/>
        </dgm:presLayoutVars>
      </dgm:prSet>
      <dgm:spPr/>
    </dgm:pt>
    <dgm:pt modelId="{7C526E41-01DC-4DDF-A2D6-6E488C2C800E}" type="pres">
      <dgm:prSet presAssocID="{787C544D-3023-4F60-B53C-768C848DCD54}" presName="FiveConn_1-2" presStyleLbl="fgAccFollowNode1" presStyleIdx="0" presStyleCnt="4">
        <dgm:presLayoutVars>
          <dgm:bulletEnabled val="1"/>
        </dgm:presLayoutVars>
      </dgm:prSet>
      <dgm:spPr/>
    </dgm:pt>
    <dgm:pt modelId="{48F4DB6B-6DC9-4946-B498-180DA4CEE3B2}" type="pres">
      <dgm:prSet presAssocID="{787C544D-3023-4F60-B53C-768C848DCD54}" presName="FiveConn_2-3" presStyleLbl="fgAccFollowNode1" presStyleIdx="1" presStyleCnt="4">
        <dgm:presLayoutVars>
          <dgm:bulletEnabled val="1"/>
        </dgm:presLayoutVars>
      </dgm:prSet>
      <dgm:spPr/>
    </dgm:pt>
    <dgm:pt modelId="{F4221C41-051F-41FD-8A1A-039F89C5BBF8}" type="pres">
      <dgm:prSet presAssocID="{787C544D-3023-4F60-B53C-768C848DCD54}" presName="FiveConn_3-4" presStyleLbl="fgAccFollowNode1" presStyleIdx="2" presStyleCnt="4">
        <dgm:presLayoutVars>
          <dgm:bulletEnabled val="1"/>
        </dgm:presLayoutVars>
      </dgm:prSet>
      <dgm:spPr/>
    </dgm:pt>
    <dgm:pt modelId="{6187298F-1785-4051-B181-BD2E834DE7A7}" type="pres">
      <dgm:prSet presAssocID="{787C544D-3023-4F60-B53C-768C848DCD54}" presName="FiveConn_4-5" presStyleLbl="fgAccFollowNode1" presStyleIdx="3" presStyleCnt="4">
        <dgm:presLayoutVars>
          <dgm:bulletEnabled val="1"/>
        </dgm:presLayoutVars>
      </dgm:prSet>
      <dgm:spPr/>
    </dgm:pt>
    <dgm:pt modelId="{27E519C4-6DB8-4191-AAA4-D29D163B2266}" type="pres">
      <dgm:prSet presAssocID="{787C544D-3023-4F60-B53C-768C848DCD54}" presName="FiveNodes_1_text" presStyleLbl="node1" presStyleIdx="4" presStyleCnt="5">
        <dgm:presLayoutVars>
          <dgm:bulletEnabled val="1"/>
        </dgm:presLayoutVars>
      </dgm:prSet>
      <dgm:spPr/>
    </dgm:pt>
    <dgm:pt modelId="{71CD25C1-7BD5-47BC-92B6-09F612893688}" type="pres">
      <dgm:prSet presAssocID="{787C544D-3023-4F60-B53C-768C848DCD54}" presName="FiveNodes_2_text" presStyleLbl="node1" presStyleIdx="4" presStyleCnt="5">
        <dgm:presLayoutVars>
          <dgm:bulletEnabled val="1"/>
        </dgm:presLayoutVars>
      </dgm:prSet>
      <dgm:spPr/>
    </dgm:pt>
    <dgm:pt modelId="{FFB136F2-CABC-485A-8709-082F916FCDF9}" type="pres">
      <dgm:prSet presAssocID="{787C544D-3023-4F60-B53C-768C848DCD54}" presName="FiveNodes_3_text" presStyleLbl="node1" presStyleIdx="4" presStyleCnt="5">
        <dgm:presLayoutVars>
          <dgm:bulletEnabled val="1"/>
        </dgm:presLayoutVars>
      </dgm:prSet>
      <dgm:spPr/>
    </dgm:pt>
    <dgm:pt modelId="{EB6F8839-E3F0-450D-A208-6A2E3A52846F}" type="pres">
      <dgm:prSet presAssocID="{787C544D-3023-4F60-B53C-768C848DCD54}" presName="FiveNodes_4_text" presStyleLbl="node1" presStyleIdx="4" presStyleCnt="5">
        <dgm:presLayoutVars>
          <dgm:bulletEnabled val="1"/>
        </dgm:presLayoutVars>
      </dgm:prSet>
      <dgm:spPr/>
    </dgm:pt>
    <dgm:pt modelId="{F1C5A4E7-09F7-4FAA-AF57-38B6D026007B}" type="pres">
      <dgm:prSet presAssocID="{787C544D-3023-4F60-B53C-768C848DCD54}" presName="FiveNodes_5_text" presStyleLbl="node1" presStyleIdx="4" presStyleCnt="5">
        <dgm:presLayoutVars>
          <dgm:bulletEnabled val="1"/>
        </dgm:presLayoutVars>
      </dgm:prSet>
      <dgm:spPr/>
    </dgm:pt>
  </dgm:ptLst>
  <dgm:cxnLst>
    <dgm:cxn modelId="{71340411-02E5-4A8C-8705-E62A3609D37D}" type="presOf" srcId="{7246902C-F380-4244-A491-559EECE887E9}" destId="{27E519C4-6DB8-4191-AAA4-D29D163B2266}" srcOrd="1" destOrd="0" presId="urn:microsoft.com/office/officeart/2005/8/layout/vProcess5"/>
    <dgm:cxn modelId="{E84CFE1E-69BD-4DD0-9A50-E93D2C0E3C56}" type="presOf" srcId="{DDE895B6-A817-43D0-8D48-1B47CFEF998D}" destId="{F1C5A4E7-09F7-4FAA-AF57-38B6D026007B}" srcOrd="1" destOrd="0" presId="urn:microsoft.com/office/officeart/2005/8/layout/vProcess5"/>
    <dgm:cxn modelId="{9FFB3F29-B906-4BB8-8C24-B4D56642CB5A}" type="presOf" srcId="{1D7B7400-3032-433F-88E8-FF0F26FEAB02}" destId="{B6C4E33E-F905-4F29-B298-28917DFBEAA2}" srcOrd="0" destOrd="0" presId="urn:microsoft.com/office/officeart/2005/8/layout/vProcess5"/>
    <dgm:cxn modelId="{688BAF35-9EA9-40EE-9EE1-99AA3019C120}" type="presOf" srcId="{19CBF419-9E92-4D5F-A934-D88F01C9054D}" destId="{7C526E41-01DC-4DDF-A2D6-6E488C2C800E}" srcOrd="0" destOrd="0" presId="urn:microsoft.com/office/officeart/2005/8/layout/vProcess5"/>
    <dgm:cxn modelId="{20ADBB3A-A76B-4F29-98FE-BFD56AA40781}" srcId="{787C544D-3023-4F60-B53C-768C848DCD54}" destId="{4AAFE2FF-9F1B-4AC6-8F43-0DB9F3FBDC0E}" srcOrd="5" destOrd="0" parTransId="{43D2A3A3-FD2F-46A1-BDE5-6A80759FD30E}" sibTransId="{AA58E3A0-0AF8-4B82-A5DE-76C1B026AE6A}"/>
    <dgm:cxn modelId="{373BF73B-2D52-4151-956D-EA34FAEE5DF2}" srcId="{787C544D-3023-4F60-B53C-768C848DCD54}" destId="{FB36C975-E19E-4C3A-8EEB-FDE8AD791C98}" srcOrd="2" destOrd="0" parTransId="{39498F07-3828-4771-8117-B8739DD6EB93}" sibTransId="{4B043B28-C968-4DF1-AA09-58E2EEC1348D}"/>
    <dgm:cxn modelId="{88370C5F-78BA-4DB6-8FCA-873E1349AFD4}" type="presOf" srcId="{FB36C975-E19E-4C3A-8EEB-FDE8AD791C98}" destId="{FFB136F2-CABC-485A-8709-082F916FCDF9}" srcOrd="1" destOrd="0" presId="urn:microsoft.com/office/officeart/2005/8/layout/vProcess5"/>
    <dgm:cxn modelId="{E8475067-7472-42B1-9C31-62DBC533880B}" type="presOf" srcId="{DDE895B6-A817-43D0-8D48-1B47CFEF998D}" destId="{E966EB57-D218-4B99-B6DB-45BD4607FD93}" srcOrd="0" destOrd="0" presId="urn:microsoft.com/office/officeart/2005/8/layout/vProcess5"/>
    <dgm:cxn modelId="{4826CC48-60AE-4276-B66F-CECE3DE7F140}" type="presOf" srcId="{787C544D-3023-4F60-B53C-768C848DCD54}" destId="{E09E0457-75FF-4CC5-ACDD-DC23C6C27867}" srcOrd="0" destOrd="0" presId="urn:microsoft.com/office/officeart/2005/8/layout/vProcess5"/>
    <dgm:cxn modelId="{4A3CF070-DDB2-4515-A0D0-177CA0EF296C}" type="presOf" srcId="{4B043B28-C968-4DF1-AA09-58E2EEC1348D}" destId="{F4221C41-051F-41FD-8A1A-039F89C5BBF8}" srcOrd="0" destOrd="0" presId="urn:microsoft.com/office/officeart/2005/8/layout/vProcess5"/>
    <dgm:cxn modelId="{7D67D756-A6AE-4662-A5A8-401387A77362}" srcId="{787C544D-3023-4F60-B53C-768C848DCD54}" destId="{02ECDC87-5383-4E7F-96F9-B4CFF9C860B7}" srcOrd="7" destOrd="0" parTransId="{0D9B2607-0CD4-4332-9C7A-94095BC79DD2}" sibTransId="{268E873A-1CBA-4C4E-B1DE-EE2DD0AFD62F}"/>
    <dgm:cxn modelId="{A59C5982-59EB-42CD-8738-391449DB642D}" type="presOf" srcId="{BCC0D6D2-25D3-493C-B554-6A9106128C83}" destId="{6187298F-1785-4051-B181-BD2E834DE7A7}" srcOrd="0" destOrd="0" presId="urn:microsoft.com/office/officeart/2005/8/layout/vProcess5"/>
    <dgm:cxn modelId="{8D07B484-2E4D-4524-9C82-889869EFFDD4}" srcId="{787C544D-3023-4F60-B53C-768C848DCD54}" destId="{1D7B7400-3032-433F-88E8-FF0F26FEAB02}" srcOrd="1" destOrd="0" parTransId="{1BB368EA-BBFD-42AA-A357-6A39DAC12C63}" sibTransId="{5DFCFF23-5B9F-4403-8AA1-08A3E4ED3D96}"/>
    <dgm:cxn modelId="{6B6944B2-1065-4D86-843B-72DD3DCF3BB3}" type="presOf" srcId="{FB36C975-E19E-4C3A-8EEB-FDE8AD791C98}" destId="{58DC2CC5-B767-45B5-8E7D-C43EB70635B6}" srcOrd="0" destOrd="0" presId="urn:microsoft.com/office/officeart/2005/8/layout/vProcess5"/>
    <dgm:cxn modelId="{8E0B96B4-7372-4D6A-85B3-997BBD5306C1}" type="presOf" srcId="{7246902C-F380-4244-A491-559EECE887E9}" destId="{94D3E854-24C4-40BA-8F8B-4429261A2642}" srcOrd="0" destOrd="0" presId="urn:microsoft.com/office/officeart/2005/8/layout/vProcess5"/>
    <dgm:cxn modelId="{561742D6-450B-40C7-8768-584872701513}" type="presOf" srcId="{683B1A66-DB5B-4D64-A471-EE3CA8F06FD2}" destId="{EB6F8839-E3F0-450D-A208-6A2E3A52846F}" srcOrd="1" destOrd="0" presId="urn:microsoft.com/office/officeart/2005/8/layout/vProcess5"/>
    <dgm:cxn modelId="{EB2228DA-F9E7-448B-B56C-B2471C1B90F1}" srcId="{787C544D-3023-4F60-B53C-768C848DCD54}" destId="{683B1A66-DB5B-4D64-A471-EE3CA8F06FD2}" srcOrd="3" destOrd="0" parTransId="{C9478E05-F48B-4696-9DBC-BB17544C3029}" sibTransId="{BCC0D6D2-25D3-493C-B554-6A9106128C83}"/>
    <dgm:cxn modelId="{961376DD-3A5F-4E72-9490-6D3AF4F7D807}" type="presOf" srcId="{683B1A66-DB5B-4D64-A471-EE3CA8F06FD2}" destId="{7E003039-4E07-475B-9B0A-542702F96900}" srcOrd="0" destOrd="0" presId="urn:microsoft.com/office/officeart/2005/8/layout/vProcess5"/>
    <dgm:cxn modelId="{1BE7D7E3-C5C5-44A2-9219-18A4A6965F76}" type="presOf" srcId="{5DFCFF23-5B9F-4403-8AA1-08A3E4ED3D96}" destId="{48F4DB6B-6DC9-4946-B498-180DA4CEE3B2}" srcOrd="0" destOrd="0" presId="urn:microsoft.com/office/officeart/2005/8/layout/vProcess5"/>
    <dgm:cxn modelId="{5D5096EA-A1FA-4B82-AE8D-00372354141C}" srcId="{787C544D-3023-4F60-B53C-768C848DCD54}" destId="{DDE895B6-A817-43D0-8D48-1B47CFEF998D}" srcOrd="4" destOrd="0" parTransId="{52804109-6994-4180-9710-80BAD302D3A7}" sibTransId="{40CFBD02-7C57-4012-A37B-A09F249F153C}"/>
    <dgm:cxn modelId="{E06F28F0-0187-4070-8490-6E6A76C82FBA}" srcId="{787C544D-3023-4F60-B53C-768C848DCD54}" destId="{7246902C-F380-4244-A491-559EECE887E9}" srcOrd="0" destOrd="0" parTransId="{C2C3550A-F1DD-4C8C-85ED-D96508225E30}" sibTransId="{19CBF419-9E92-4D5F-A934-D88F01C9054D}"/>
    <dgm:cxn modelId="{E276F4FA-1EA2-4238-96B8-B55DACA50294}" type="presOf" srcId="{1D7B7400-3032-433F-88E8-FF0F26FEAB02}" destId="{71CD25C1-7BD5-47BC-92B6-09F612893688}" srcOrd="1" destOrd="0" presId="urn:microsoft.com/office/officeart/2005/8/layout/vProcess5"/>
    <dgm:cxn modelId="{9A126FFE-EAFC-45CE-9B3A-BFBC1B7F3BE5}" srcId="{787C544D-3023-4F60-B53C-768C848DCD54}" destId="{9BD7A9AD-7522-49B9-A35D-80DF88DDCAFB}" srcOrd="6" destOrd="0" parTransId="{349DDCD6-81D9-4A82-ADC3-998974D896CE}" sibTransId="{424C164D-54D5-45D2-808D-81F87859067C}"/>
    <dgm:cxn modelId="{FF50C912-224B-410A-BCC5-0460D63DCC60}" type="presParOf" srcId="{E09E0457-75FF-4CC5-ACDD-DC23C6C27867}" destId="{0EB909FA-3E83-4472-B156-6405693699CD}" srcOrd="0" destOrd="0" presId="urn:microsoft.com/office/officeart/2005/8/layout/vProcess5"/>
    <dgm:cxn modelId="{649B39D8-CC0F-4693-B397-D29B417B582B}" type="presParOf" srcId="{E09E0457-75FF-4CC5-ACDD-DC23C6C27867}" destId="{94D3E854-24C4-40BA-8F8B-4429261A2642}" srcOrd="1" destOrd="0" presId="urn:microsoft.com/office/officeart/2005/8/layout/vProcess5"/>
    <dgm:cxn modelId="{D7B57F7F-2CED-4C29-A6CD-B23BB60D690D}" type="presParOf" srcId="{E09E0457-75FF-4CC5-ACDD-DC23C6C27867}" destId="{B6C4E33E-F905-4F29-B298-28917DFBEAA2}" srcOrd="2" destOrd="0" presId="urn:microsoft.com/office/officeart/2005/8/layout/vProcess5"/>
    <dgm:cxn modelId="{9780067A-A8FF-422F-A207-E3E2CD76189F}" type="presParOf" srcId="{E09E0457-75FF-4CC5-ACDD-DC23C6C27867}" destId="{58DC2CC5-B767-45B5-8E7D-C43EB70635B6}" srcOrd="3" destOrd="0" presId="urn:microsoft.com/office/officeart/2005/8/layout/vProcess5"/>
    <dgm:cxn modelId="{14C34D54-FE9A-47AB-9967-ECAA80ABE45A}" type="presParOf" srcId="{E09E0457-75FF-4CC5-ACDD-DC23C6C27867}" destId="{7E003039-4E07-475B-9B0A-542702F96900}" srcOrd="4" destOrd="0" presId="urn:microsoft.com/office/officeart/2005/8/layout/vProcess5"/>
    <dgm:cxn modelId="{3F852E69-69DE-4379-BA6F-6DDB57804791}" type="presParOf" srcId="{E09E0457-75FF-4CC5-ACDD-DC23C6C27867}" destId="{E966EB57-D218-4B99-B6DB-45BD4607FD93}" srcOrd="5" destOrd="0" presId="urn:microsoft.com/office/officeart/2005/8/layout/vProcess5"/>
    <dgm:cxn modelId="{2C8DE22E-B331-4539-AAF8-46DA45B812AE}" type="presParOf" srcId="{E09E0457-75FF-4CC5-ACDD-DC23C6C27867}" destId="{7C526E41-01DC-4DDF-A2D6-6E488C2C800E}" srcOrd="6" destOrd="0" presId="urn:microsoft.com/office/officeart/2005/8/layout/vProcess5"/>
    <dgm:cxn modelId="{BCA5ED48-5559-4881-B29D-77C44BFE8677}" type="presParOf" srcId="{E09E0457-75FF-4CC5-ACDD-DC23C6C27867}" destId="{48F4DB6B-6DC9-4946-B498-180DA4CEE3B2}" srcOrd="7" destOrd="0" presId="urn:microsoft.com/office/officeart/2005/8/layout/vProcess5"/>
    <dgm:cxn modelId="{5F8D0871-A322-49AF-AC5F-E04522D53B6F}" type="presParOf" srcId="{E09E0457-75FF-4CC5-ACDD-DC23C6C27867}" destId="{F4221C41-051F-41FD-8A1A-039F89C5BBF8}" srcOrd="8" destOrd="0" presId="urn:microsoft.com/office/officeart/2005/8/layout/vProcess5"/>
    <dgm:cxn modelId="{EE03889A-0C90-4A5E-9080-88048DB18E77}" type="presParOf" srcId="{E09E0457-75FF-4CC5-ACDD-DC23C6C27867}" destId="{6187298F-1785-4051-B181-BD2E834DE7A7}" srcOrd="9" destOrd="0" presId="urn:microsoft.com/office/officeart/2005/8/layout/vProcess5"/>
    <dgm:cxn modelId="{A2618BF1-432B-4FD7-AC3C-627D9547A839}" type="presParOf" srcId="{E09E0457-75FF-4CC5-ACDD-DC23C6C27867}" destId="{27E519C4-6DB8-4191-AAA4-D29D163B2266}" srcOrd="10" destOrd="0" presId="urn:microsoft.com/office/officeart/2005/8/layout/vProcess5"/>
    <dgm:cxn modelId="{BAA86699-112B-49C4-95C0-6FC36D16B673}" type="presParOf" srcId="{E09E0457-75FF-4CC5-ACDD-DC23C6C27867}" destId="{71CD25C1-7BD5-47BC-92B6-09F612893688}" srcOrd="11" destOrd="0" presId="urn:microsoft.com/office/officeart/2005/8/layout/vProcess5"/>
    <dgm:cxn modelId="{E63BB9A0-66B1-4550-8037-C2A5C7900463}" type="presParOf" srcId="{E09E0457-75FF-4CC5-ACDD-DC23C6C27867}" destId="{FFB136F2-CABC-485A-8709-082F916FCDF9}" srcOrd="12" destOrd="0" presId="urn:microsoft.com/office/officeart/2005/8/layout/vProcess5"/>
    <dgm:cxn modelId="{4F973302-B90A-4BF7-B1AE-72F32CE5EFEA}" type="presParOf" srcId="{E09E0457-75FF-4CC5-ACDD-DC23C6C27867}" destId="{EB6F8839-E3F0-450D-A208-6A2E3A52846F}" srcOrd="13" destOrd="0" presId="urn:microsoft.com/office/officeart/2005/8/layout/vProcess5"/>
    <dgm:cxn modelId="{D3CD681D-509A-4F2B-918A-CC9B03824BE0}" type="presParOf" srcId="{E09E0457-75FF-4CC5-ACDD-DC23C6C27867}" destId="{F1C5A4E7-09F7-4FAA-AF57-38B6D026007B}"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fr-FR"/>
        </a:p>
      </dgm:t>
    </dgm:pt>
    <dgm:pt modelId="{7246902C-F380-4244-A491-559EECE887E9}">
      <dgm:prSet phldrT="[Texte]"/>
      <dgm:spPr/>
      <dgm:t>
        <a:bodyPr/>
        <a:lstStyle/>
        <a:p>
          <a:r>
            <a:rPr lang="fr-FR" dirty="0"/>
            <a:t>De combien de classes est généralement composée le plan comptable général ?</a:t>
          </a: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9BD7A9AD-7522-49B9-A35D-80DF88DDCAFB}">
      <dgm:prSet phldrT="[Texte]"/>
      <dgm:spPr/>
      <dgm:t>
        <a:bodyPr/>
        <a:lstStyle/>
        <a:p>
          <a:r>
            <a:rPr lang="fr-FR" dirty="0"/>
            <a:t>Combien concerne le compte de résultat ?</a:t>
          </a:r>
        </a:p>
      </dgm:t>
    </dgm:pt>
    <dgm:pt modelId="{349DDCD6-81D9-4A82-ADC3-998974D896CE}" type="parTrans" cxnId="{9A126FFE-EAFC-45CE-9B3A-BFBC1B7F3BE5}">
      <dgm:prSet/>
      <dgm:spPr/>
      <dgm:t>
        <a:bodyPr/>
        <a:lstStyle/>
        <a:p>
          <a:endParaRPr lang="fr-FR"/>
        </a:p>
      </dgm:t>
    </dgm:pt>
    <dgm:pt modelId="{424C164D-54D5-45D2-808D-81F87859067C}" type="sibTrans" cxnId="{9A126FFE-EAFC-45CE-9B3A-BFBC1B7F3BE5}">
      <dgm:prSet/>
      <dgm:spPr/>
      <dgm:t>
        <a:bodyPr/>
        <a:lstStyle/>
        <a:p>
          <a:endParaRPr lang="fr-FR"/>
        </a:p>
      </dgm:t>
    </dgm:pt>
    <dgm:pt modelId="{4AAFE2FF-9F1B-4AC6-8F43-0DB9F3FBDC0E}">
      <dgm:prSet phldrT="[Texte]"/>
      <dgm:spPr/>
      <dgm:t>
        <a:bodyPr/>
        <a:lstStyle/>
        <a:p>
          <a:r>
            <a:rPr lang="fr-FR" dirty="0"/>
            <a:t>Combien concerne le bilan ?</a:t>
          </a:r>
        </a:p>
      </dgm:t>
    </dgm:pt>
    <dgm:pt modelId="{43D2A3A3-FD2F-46A1-BDE5-6A80759FD30E}" type="parTrans" cxnId="{20ADBB3A-A76B-4F29-98FE-BFD56AA40781}">
      <dgm:prSet/>
      <dgm:spPr/>
      <dgm:t>
        <a:bodyPr/>
        <a:lstStyle/>
        <a:p>
          <a:endParaRPr lang="fr-FR"/>
        </a:p>
      </dgm:t>
    </dgm:pt>
    <dgm:pt modelId="{AA58E3A0-0AF8-4B82-A5DE-76C1B026AE6A}" type="sibTrans" cxnId="{20ADBB3A-A76B-4F29-98FE-BFD56AA40781}">
      <dgm:prSet/>
      <dgm:spPr/>
      <dgm:t>
        <a:bodyPr/>
        <a:lstStyle/>
        <a:p>
          <a:endParaRPr lang="fr-FR"/>
        </a:p>
      </dgm:t>
    </dgm:pt>
    <dgm:pt modelId="{E09E0457-75FF-4CC5-ACDD-DC23C6C27867}" type="pres">
      <dgm:prSet presAssocID="{787C544D-3023-4F60-B53C-768C848DCD54}" presName="outerComposite" presStyleCnt="0">
        <dgm:presLayoutVars>
          <dgm:chMax val="5"/>
          <dgm:dir/>
          <dgm:resizeHandles val="exact"/>
        </dgm:presLayoutVars>
      </dgm:prSet>
      <dgm:spPr/>
    </dgm:pt>
    <dgm:pt modelId="{0EB909FA-3E83-4472-B156-6405693699CD}" type="pres">
      <dgm:prSet presAssocID="{787C544D-3023-4F60-B53C-768C848DCD54}" presName="dummyMaxCanvas" presStyleCnt="0">
        <dgm:presLayoutVars/>
      </dgm:prSet>
      <dgm:spPr/>
    </dgm:pt>
    <dgm:pt modelId="{67286AB2-BA4E-4939-A96B-AD91CA3D6350}" type="pres">
      <dgm:prSet presAssocID="{787C544D-3023-4F60-B53C-768C848DCD54}" presName="ThreeNodes_1" presStyleLbl="node1" presStyleIdx="0" presStyleCnt="3">
        <dgm:presLayoutVars>
          <dgm:bulletEnabled val="1"/>
        </dgm:presLayoutVars>
      </dgm:prSet>
      <dgm:spPr/>
    </dgm:pt>
    <dgm:pt modelId="{0E0C126D-65AC-4B55-9501-75522104BC4E}" type="pres">
      <dgm:prSet presAssocID="{787C544D-3023-4F60-B53C-768C848DCD54}" presName="ThreeNodes_2" presStyleLbl="node1" presStyleIdx="1" presStyleCnt="3">
        <dgm:presLayoutVars>
          <dgm:bulletEnabled val="1"/>
        </dgm:presLayoutVars>
      </dgm:prSet>
      <dgm:spPr/>
    </dgm:pt>
    <dgm:pt modelId="{1FC9BA98-D56D-4163-BEB4-3C65E036CE89}" type="pres">
      <dgm:prSet presAssocID="{787C544D-3023-4F60-B53C-768C848DCD54}" presName="ThreeNodes_3" presStyleLbl="node1" presStyleIdx="2" presStyleCnt="3" custScaleX="106575">
        <dgm:presLayoutVars>
          <dgm:bulletEnabled val="1"/>
        </dgm:presLayoutVars>
      </dgm:prSet>
      <dgm:spPr/>
    </dgm:pt>
    <dgm:pt modelId="{05212120-7885-4C1A-8033-8B91DA96E431}" type="pres">
      <dgm:prSet presAssocID="{787C544D-3023-4F60-B53C-768C848DCD54}" presName="ThreeConn_1-2" presStyleLbl="fgAccFollowNode1" presStyleIdx="0" presStyleCnt="2">
        <dgm:presLayoutVars>
          <dgm:bulletEnabled val="1"/>
        </dgm:presLayoutVars>
      </dgm:prSet>
      <dgm:spPr/>
    </dgm:pt>
    <dgm:pt modelId="{2B86CAC6-39B0-433E-ABCC-9F2C68FF5CAD}" type="pres">
      <dgm:prSet presAssocID="{787C544D-3023-4F60-B53C-768C848DCD54}" presName="ThreeConn_2-3" presStyleLbl="fgAccFollowNode1" presStyleIdx="1" presStyleCnt="2">
        <dgm:presLayoutVars>
          <dgm:bulletEnabled val="1"/>
        </dgm:presLayoutVars>
      </dgm:prSet>
      <dgm:spPr/>
    </dgm:pt>
    <dgm:pt modelId="{CAD6BF86-DB37-4C93-9C2E-6F8B97116AEE}" type="pres">
      <dgm:prSet presAssocID="{787C544D-3023-4F60-B53C-768C848DCD54}" presName="ThreeNodes_1_text" presStyleLbl="node1" presStyleIdx="2" presStyleCnt="3">
        <dgm:presLayoutVars>
          <dgm:bulletEnabled val="1"/>
        </dgm:presLayoutVars>
      </dgm:prSet>
      <dgm:spPr/>
    </dgm:pt>
    <dgm:pt modelId="{7C226FB3-2803-452E-802F-F6A8463DA27C}" type="pres">
      <dgm:prSet presAssocID="{787C544D-3023-4F60-B53C-768C848DCD54}" presName="ThreeNodes_2_text" presStyleLbl="node1" presStyleIdx="2" presStyleCnt="3">
        <dgm:presLayoutVars>
          <dgm:bulletEnabled val="1"/>
        </dgm:presLayoutVars>
      </dgm:prSet>
      <dgm:spPr/>
    </dgm:pt>
    <dgm:pt modelId="{8F21CF41-266B-4DF1-BB7F-3BFD18D460CF}" type="pres">
      <dgm:prSet presAssocID="{787C544D-3023-4F60-B53C-768C848DCD54}" presName="ThreeNodes_3_text" presStyleLbl="node1" presStyleIdx="2" presStyleCnt="3">
        <dgm:presLayoutVars>
          <dgm:bulletEnabled val="1"/>
        </dgm:presLayoutVars>
      </dgm:prSet>
      <dgm:spPr/>
    </dgm:pt>
  </dgm:ptLst>
  <dgm:cxnLst>
    <dgm:cxn modelId="{4C527F35-65D7-40AF-9D87-32D1DF95F71E}" type="presOf" srcId="{9BD7A9AD-7522-49B9-A35D-80DF88DDCAFB}" destId="{1FC9BA98-D56D-4163-BEB4-3C65E036CE89}" srcOrd="0" destOrd="0" presId="urn:microsoft.com/office/officeart/2005/8/layout/vProcess5"/>
    <dgm:cxn modelId="{20ADBB3A-A76B-4F29-98FE-BFD56AA40781}" srcId="{787C544D-3023-4F60-B53C-768C848DCD54}" destId="{4AAFE2FF-9F1B-4AC6-8F43-0DB9F3FBDC0E}" srcOrd="1" destOrd="0" parTransId="{43D2A3A3-FD2F-46A1-BDE5-6A80759FD30E}" sibTransId="{AA58E3A0-0AF8-4B82-A5DE-76C1B026AE6A}"/>
    <dgm:cxn modelId="{336E4B5D-3A47-4622-89F5-DDD3020F7821}" type="presOf" srcId="{4AAFE2FF-9F1B-4AC6-8F43-0DB9F3FBDC0E}" destId="{0E0C126D-65AC-4B55-9501-75522104BC4E}" srcOrd="0" destOrd="0" presId="urn:microsoft.com/office/officeart/2005/8/layout/vProcess5"/>
    <dgm:cxn modelId="{02EDF967-6BBD-4AF9-98E4-21119F7C7515}" type="presOf" srcId="{19CBF419-9E92-4D5F-A934-D88F01C9054D}" destId="{05212120-7885-4C1A-8033-8B91DA96E431}" srcOrd="0" destOrd="0" presId="urn:microsoft.com/office/officeart/2005/8/layout/vProcess5"/>
    <dgm:cxn modelId="{4826CC48-60AE-4276-B66F-CECE3DE7F140}" type="presOf" srcId="{787C544D-3023-4F60-B53C-768C848DCD54}" destId="{E09E0457-75FF-4CC5-ACDD-DC23C6C27867}" srcOrd="0" destOrd="0" presId="urn:microsoft.com/office/officeart/2005/8/layout/vProcess5"/>
    <dgm:cxn modelId="{4739DD54-7D7D-49AA-92FE-F553F13CD046}" type="presOf" srcId="{7246902C-F380-4244-A491-559EECE887E9}" destId="{67286AB2-BA4E-4939-A96B-AD91CA3D6350}" srcOrd="0" destOrd="0" presId="urn:microsoft.com/office/officeart/2005/8/layout/vProcess5"/>
    <dgm:cxn modelId="{55CBFD8E-F9B9-4E74-A88F-49A5B98C8E68}" type="presOf" srcId="{4AAFE2FF-9F1B-4AC6-8F43-0DB9F3FBDC0E}" destId="{7C226FB3-2803-452E-802F-F6A8463DA27C}" srcOrd="1" destOrd="0" presId="urn:microsoft.com/office/officeart/2005/8/layout/vProcess5"/>
    <dgm:cxn modelId="{1604F6BB-663E-4918-98DD-9699400FC7B1}" type="presOf" srcId="{9BD7A9AD-7522-49B9-A35D-80DF88DDCAFB}" destId="{8F21CF41-266B-4DF1-BB7F-3BFD18D460CF}" srcOrd="1" destOrd="0" presId="urn:microsoft.com/office/officeart/2005/8/layout/vProcess5"/>
    <dgm:cxn modelId="{5DA261C6-DD42-4FA6-A7A4-909F183E5CD3}" type="presOf" srcId="{AA58E3A0-0AF8-4B82-A5DE-76C1B026AE6A}" destId="{2B86CAC6-39B0-433E-ABCC-9F2C68FF5CAD}" srcOrd="0" destOrd="0" presId="urn:microsoft.com/office/officeart/2005/8/layout/vProcess5"/>
    <dgm:cxn modelId="{554AD9E4-3EA9-4165-BAF1-5450ED4DABB4}" type="presOf" srcId="{7246902C-F380-4244-A491-559EECE887E9}" destId="{CAD6BF86-DB37-4C93-9C2E-6F8B97116AEE}" srcOrd="1"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A126FFE-EAFC-45CE-9B3A-BFBC1B7F3BE5}" srcId="{787C544D-3023-4F60-B53C-768C848DCD54}" destId="{9BD7A9AD-7522-49B9-A35D-80DF88DDCAFB}" srcOrd="2" destOrd="0" parTransId="{349DDCD6-81D9-4A82-ADC3-998974D896CE}" sibTransId="{424C164D-54D5-45D2-808D-81F87859067C}"/>
    <dgm:cxn modelId="{FF50C912-224B-410A-BCC5-0460D63DCC60}" type="presParOf" srcId="{E09E0457-75FF-4CC5-ACDD-DC23C6C27867}" destId="{0EB909FA-3E83-4472-B156-6405693699CD}" srcOrd="0" destOrd="0" presId="urn:microsoft.com/office/officeart/2005/8/layout/vProcess5"/>
    <dgm:cxn modelId="{A58A9441-A8EF-400B-95FF-2EFCC3AC7FFE}" type="presParOf" srcId="{E09E0457-75FF-4CC5-ACDD-DC23C6C27867}" destId="{67286AB2-BA4E-4939-A96B-AD91CA3D6350}" srcOrd="1" destOrd="0" presId="urn:microsoft.com/office/officeart/2005/8/layout/vProcess5"/>
    <dgm:cxn modelId="{6AFDDF89-9F15-48C4-9D98-1F5E7568DB41}" type="presParOf" srcId="{E09E0457-75FF-4CC5-ACDD-DC23C6C27867}" destId="{0E0C126D-65AC-4B55-9501-75522104BC4E}" srcOrd="2" destOrd="0" presId="urn:microsoft.com/office/officeart/2005/8/layout/vProcess5"/>
    <dgm:cxn modelId="{5252FE9B-B2BF-4B0E-ADDE-7C17EF708219}" type="presParOf" srcId="{E09E0457-75FF-4CC5-ACDD-DC23C6C27867}" destId="{1FC9BA98-D56D-4163-BEB4-3C65E036CE89}" srcOrd="3" destOrd="0" presId="urn:microsoft.com/office/officeart/2005/8/layout/vProcess5"/>
    <dgm:cxn modelId="{5489ED6B-ED3E-4F34-A901-5CABD47DE246}" type="presParOf" srcId="{E09E0457-75FF-4CC5-ACDD-DC23C6C27867}" destId="{05212120-7885-4C1A-8033-8B91DA96E431}" srcOrd="4" destOrd="0" presId="urn:microsoft.com/office/officeart/2005/8/layout/vProcess5"/>
    <dgm:cxn modelId="{F1013B57-D16E-4808-A496-B7D265D16EF5}" type="presParOf" srcId="{E09E0457-75FF-4CC5-ACDD-DC23C6C27867}" destId="{2B86CAC6-39B0-433E-ABCC-9F2C68FF5CAD}" srcOrd="5" destOrd="0" presId="urn:microsoft.com/office/officeart/2005/8/layout/vProcess5"/>
    <dgm:cxn modelId="{BAAA63DE-3DA0-41F2-AA4F-D40C3E6091B7}" type="presParOf" srcId="{E09E0457-75FF-4CC5-ACDD-DC23C6C27867}" destId="{CAD6BF86-DB37-4C93-9C2E-6F8B97116AEE}" srcOrd="6" destOrd="0" presId="urn:microsoft.com/office/officeart/2005/8/layout/vProcess5"/>
    <dgm:cxn modelId="{C07FE52F-E77F-49ED-8D2B-C13C5053F583}" type="presParOf" srcId="{E09E0457-75FF-4CC5-ACDD-DC23C6C27867}" destId="{7C226FB3-2803-452E-802F-F6A8463DA27C}" srcOrd="7" destOrd="0" presId="urn:microsoft.com/office/officeart/2005/8/layout/vProcess5"/>
    <dgm:cxn modelId="{355E90FA-7667-4F0D-8B1E-09167A9CF072}" type="presParOf" srcId="{E09E0457-75FF-4CC5-ACDD-DC23C6C27867}" destId="{8F21CF41-266B-4DF1-BB7F-3BFD18D460CF}"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87C544D-3023-4F60-B53C-768C848DCD5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fr-FR"/>
        </a:p>
      </dgm:t>
    </dgm:pt>
    <dgm:pt modelId="{7246902C-F380-4244-A491-559EECE887E9}">
      <dgm:prSet phldrT="[Texte]"/>
      <dgm:spPr/>
      <dgm:t>
        <a:bodyPr/>
        <a:lstStyle/>
        <a:p>
          <a:r>
            <a:rPr lang="fr-FR" dirty="0"/>
            <a:t>Q 1 : Quelle est la durée d’un exercice comptable ?</a:t>
          </a: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9BD7A9AD-7522-49B9-A35D-80DF88DDCAFB}">
      <dgm:prSet phldrT="[Texte]"/>
      <dgm:spPr/>
      <dgm:t>
        <a:bodyPr/>
        <a:lstStyle/>
        <a:p>
          <a:r>
            <a:rPr lang="fr-FR" dirty="0"/>
            <a:t>: Quel est leur principal point commun ? Quel lien les unit ? (Bilan / CR)</a:t>
          </a:r>
        </a:p>
      </dgm:t>
    </dgm:pt>
    <dgm:pt modelId="{349DDCD6-81D9-4A82-ADC3-998974D896CE}" type="parTrans" cxnId="{9A126FFE-EAFC-45CE-9B3A-BFBC1B7F3BE5}">
      <dgm:prSet/>
      <dgm:spPr/>
      <dgm:t>
        <a:bodyPr/>
        <a:lstStyle/>
        <a:p>
          <a:endParaRPr lang="fr-FR"/>
        </a:p>
      </dgm:t>
    </dgm:pt>
    <dgm:pt modelId="{424C164D-54D5-45D2-808D-81F87859067C}" type="sibTrans" cxnId="{9A126FFE-EAFC-45CE-9B3A-BFBC1B7F3BE5}">
      <dgm:prSet/>
      <dgm:spPr/>
      <dgm:t>
        <a:bodyPr/>
        <a:lstStyle/>
        <a:p>
          <a:endParaRPr lang="fr-FR"/>
        </a:p>
      </dgm:t>
    </dgm:pt>
    <dgm:pt modelId="{4AAFE2FF-9F1B-4AC6-8F43-0DB9F3FBDC0E}">
      <dgm:prSet phldrT="[Texte]"/>
      <dgm:spPr/>
      <dgm:t>
        <a:bodyPr/>
        <a:lstStyle/>
        <a:p>
          <a:r>
            <a:rPr lang="fr-FR" dirty="0"/>
            <a:t>Q 2 : Quelle est la principale différence entre le bilan et le compte de résultat ?</a:t>
          </a:r>
        </a:p>
      </dgm:t>
    </dgm:pt>
    <dgm:pt modelId="{43D2A3A3-FD2F-46A1-BDE5-6A80759FD30E}" type="parTrans" cxnId="{20ADBB3A-A76B-4F29-98FE-BFD56AA40781}">
      <dgm:prSet/>
      <dgm:spPr/>
      <dgm:t>
        <a:bodyPr/>
        <a:lstStyle/>
        <a:p>
          <a:endParaRPr lang="fr-FR"/>
        </a:p>
      </dgm:t>
    </dgm:pt>
    <dgm:pt modelId="{AA58E3A0-0AF8-4B82-A5DE-76C1B026AE6A}" type="sibTrans" cxnId="{20ADBB3A-A76B-4F29-98FE-BFD56AA40781}">
      <dgm:prSet/>
      <dgm:spPr/>
      <dgm:t>
        <a:bodyPr/>
        <a:lstStyle/>
        <a:p>
          <a:endParaRPr lang="fr-FR"/>
        </a:p>
      </dgm:t>
    </dgm:pt>
    <dgm:pt modelId="{EBF855D1-64BB-4D2E-BB7F-50B9CFC3F1BE}" type="pres">
      <dgm:prSet presAssocID="{787C544D-3023-4F60-B53C-768C848DCD54}" presName="linear" presStyleCnt="0">
        <dgm:presLayoutVars>
          <dgm:animLvl val="lvl"/>
          <dgm:resizeHandles val="exact"/>
        </dgm:presLayoutVars>
      </dgm:prSet>
      <dgm:spPr/>
    </dgm:pt>
    <dgm:pt modelId="{7DF19007-41D9-4B97-A7ED-0FE09CEBFB29}" type="pres">
      <dgm:prSet presAssocID="{7246902C-F380-4244-A491-559EECE887E9}" presName="parentText" presStyleLbl="node1" presStyleIdx="0" presStyleCnt="3">
        <dgm:presLayoutVars>
          <dgm:chMax val="0"/>
          <dgm:bulletEnabled val="1"/>
        </dgm:presLayoutVars>
      </dgm:prSet>
      <dgm:spPr/>
    </dgm:pt>
    <dgm:pt modelId="{A8BB6D5E-44BE-4235-B7A8-B8A30CE3B8F0}" type="pres">
      <dgm:prSet presAssocID="{19CBF419-9E92-4D5F-A934-D88F01C9054D}" presName="spacer" presStyleCnt="0"/>
      <dgm:spPr/>
    </dgm:pt>
    <dgm:pt modelId="{B23FF392-3107-47FC-B2AC-5F95E5695BCF}" type="pres">
      <dgm:prSet presAssocID="{4AAFE2FF-9F1B-4AC6-8F43-0DB9F3FBDC0E}" presName="parentText" presStyleLbl="node1" presStyleIdx="1" presStyleCnt="3">
        <dgm:presLayoutVars>
          <dgm:chMax val="0"/>
          <dgm:bulletEnabled val="1"/>
        </dgm:presLayoutVars>
      </dgm:prSet>
      <dgm:spPr/>
    </dgm:pt>
    <dgm:pt modelId="{3F4F5EA2-DA03-4006-8882-22F5367E23B4}" type="pres">
      <dgm:prSet presAssocID="{AA58E3A0-0AF8-4B82-A5DE-76C1B026AE6A}" presName="spacer" presStyleCnt="0"/>
      <dgm:spPr/>
    </dgm:pt>
    <dgm:pt modelId="{E7EE5F07-CBF8-4359-A4F9-E0D6E9ECBB02}" type="pres">
      <dgm:prSet presAssocID="{9BD7A9AD-7522-49B9-A35D-80DF88DDCAFB}" presName="parentText" presStyleLbl="node1" presStyleIdx="2" presStyleCnt="3">
        <dgm:presLayoutVars>
          <dgm:chMax val="0"/>
          <dgm:bulletEnabled val="1"/>
        </dgm:presLayoutVars>
      </dgm:prSet>
      <dgm:spPr/>
    </dgm:pt>
  </dgm:ptLst>
  <dgm:cxnLst>
    <dgm:cxn modelId="{20ADBB3A-A76B-4F29-98FE-BFD56AA40781}" srcId="{787C544D-3023-4F60-B53C-768C848DCD54}" destId="{4AAFE2FF-9F1B-4AC6-8F43-0DB9F3FBDC0E}" srcOrd="1" destOrd="0" parTransId="{43D2A3A3-FD2F-46A1-BDE5-6A80759FD30E}" sibTransId="{AA58E3A0-0AF8-4B82-A5DE-76C1B026AE6A}"/>
    <dgm:cxn modelId="{BFF5A969-24ED-4E3E-8A4D-E3492EA40B0A}" type="presOf" srcId="{9BD7A9AD-7522-49B9-A35D-80DF88DDCAFB}" destId="{E7EE5F07-CBF8-4359-A4F9-E0D6E9ECBB02}" srcOrd="0" destOrd="0" presId="urn:microsoft.com/office/officeart/2005/8/layout/vList2"/>
    <dgm:cxn modelId="{06499B87-A2CC-4676-B598-FFF22B454219}" type="presOf" srcId="{787C544D-3023-4F60-B53C-768C848DCD54}" destId="{EBF855D1-64BB-4D2E-BB7F-50B9CFC3F1BE}" srcOrd="0" destOrd="0" presId="urn:microsoft.com/office/officeart/2005/8/layout/vList2"/>
    <dgm:cxn modelId="{69A47288-F6E7-49CB-BA34-5C96DDA26CE7}" type="presOf" srcId="{7246902C-F380-4244-A491-559EECE887E9}" destId="{7DF19007-41D9-4B97-A7ED-0FE09CEBFB29}" srcOrd="0" destOrd="0" presId="urn:microsoft.com/office/officeart/2005/8/layout/vList2"/>
    <dgm:cxn modelId="{A56368E5-8851-497D-9CAE-6DACC2FBA8E0}" type="presOf" srcId="{4AAFE2FF-9F1B-4AC6-8F43-0DB9F3FBDC0E}" destId="{B23FF392-3107-47FC-B2AC-5F95E5695BCF}" srcOrd="0" destOrd="0" presId="urn:microsoft.com/office/officeart/2005/8/layout/vList2"/>
    <dgm:cxn modelId="{E06F28F0-0187-4070-8490-6E6A76C82FBA}" srcId="{787C544D-3023-4F60-B53C-768C848DCD54}" destId="{7246902C-F380-4244-A491-559EECE887E9}" srcOrd="0" destOrd="0" parTransId="{C2C3550A-F1DD-4C8C-85ED-D96508225E30}" sibTransId="{19CBF419-9E92-4D5F-A934-D88F01C9054D}"/>
    <dgm:cxn modelId="{9A126FFE-EAFC-45CE-9B3A-BFBC1B7F3BE5}" srcId="{787C544D-3023-4F60-B53C-768C848DCD54}" destId="{9BD7A9AD-7522-49B9-A35D-80DF88DDCAFB}" srcOrd="2" destOrd="0" parTransId="{349DDCD6-81D9-4A82-ADC3-998974D896CE}" sibTransId="{424C164D-54D5-45D2-808D-81F87859067C}"/>
    <dgm:cxn modelId="{8D6961C3-AA78-418D-A8E0-F9502ECF4B01}" type="presParOf" srcId="{EBF855D1-64BB-4D2E-BB7F-50B9CFC3F1BE}" destId="{7DF19007-41D9-4B97-A7ED-0FE09CEBFB29}" srcOrd="0" destOrd="0" presId="urn:microsoft.com/office/officeart/2005/8/layout/vList2"/>
    <dgm:cxn modelId="{1E9EDED9-3138-4FD7-B502-8F183DB638AB}" type="presParOf" srcId="{EBF855D1-64BB-4D2E-BB7F-50B9CFC3F1BE}" destId="{A8BB6D5E-44BE-4235-B7A8-B8A30CE3B8F0}" srcOrd="1" destOrd="0" presId="urn:microsoft.com/office/officeart/2005/8/layout/vList2"/>
    <dgm:cxn modelId="{37B2E475-0131-43D6-AC0E-E64167FE6D26}" type="presParOf" srcId="{EBF855D1-64BB-4D2E-BB7F-50B9CFC3F1BE}" destId="{B23FF392-3107-47FC-B2AC-5F95E5695BCF}" srcOrd="2" destOrd="0" presId="urn:microsoft.com/office/officeart/2005/8/layout/vList2"/>
    <dgm:cxn modelId="{C195603D-C009-4B6D-B8C6-CAB3C59B5AFD}" type="presParOf" srcId="{EBF855D1-64BB-4D2E-BB7F-50B9CFC3F1BE}" destId="{3F4F5EA2-DA03-4006-8882-22F5367E23B4}" srcOrd="3" destOrd="0" presId="urn:microsoft.com/office/officeart/2005/8/layout/vList2"/>
    <dgm:cxn modelId="{E1BD8E7A-E6F9-4ED0-BE81-60C7E186CDD6}" type="presParOf" srcId="{EBF855D1-64BB-4D2E-BB7F-50B9CFC3F1BE}" destId="{E7EE5F07-CBF8-4359-A4F9-E0D6E9ECBB0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CCA5B7E-21A6-4DC3-AEB6-73C0341295A9}"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E795DB93-7A97-450F-98F4-ED1E9136DB97}">
      <dgm:prSet/>
      <dgm:spPr/>
      <dgm:t>
        <a:bodyPr/>
        <a:lstStyle/>
        <a:p>
          <a:endParaRPr lang="en-US" dirty="0"/>
        </a:p>
      </dgm:t>
    </dgm:pt>
    <dgm:pt modelId="{5B8FA836-B932-461E-8FB8-E5B80EA0822F}" type="parTrans" cxnId="{B02DAE81-278C-4C87-851D-4AB83F77BA19}">
      <dgm:prSet/>
      <dgm:spPr/>
      <dgm:t>
        <a:bodyPr/>
        <a:lstStyle/>
        <a:p>
          <a:endParaRPr lang="en-US"/>
        </a:p>
      </dgm:t>
    </dgm:pt>
    <dgm:pt modelId="{A1C8728D-DD21-4CAC-83E7-6F49F6B34D00}" type="sibTrans" cxnId="{B02DAE81-278C-4C87-851D-4AB83F77BA19}">
      <dgm:prSet/>
      <dgm:spPr/>
      <dgm:t>
        <a:bodyPr/>
        <a:lstStyle/>
        <a:p>
          <a:endParaRPr lang="en-US"/>
        </a:p>
      </dgm:t>
    </dgm:pt>
    <dgm:pt modelId="{C1E51F19-9EB4-4BFA-9965-31A70CF860D2}">
      <dgm:prSet/>
      <dgm:spPr/>
      <dgm:t>
        <a:bodyPr/>
        <a:lstStyle/>
        <a:p>
          <a:endParaRPr lang="en-US" dirty="0"/>
        </a:p>
      </dgm:t>
    </dgm:pt>
    <dgm:pt modelId="{4B84D0E7-894C-4089-9E92-AB79AF63F277}" type="parTrans" cxnId="{6C5E4B9F-D674-45F3-AA7C-E485FF4F2786}">
      <dgm:prSet/>
      <dgm:spPr/>
      <dgm:t>
        <a:bodyPr/>
        <a:lstStyle/>
        <a:p>
          <a:endParaRPr lang="en-US"/>
        </a:p>
      </dgm:t>
    </dgm:pt>
    <dgm:pt modelId="{B70D632C-0E88-46DE-AEEF-23B4995490BB}" type="sibTrans" cxnId="{6C5E4B9F-D674-45F3-AA7C-E485FF4F2786}">
      <dgm:prSet/>
      <dgm:spPr/>
      <dgm:t>
        <a:bodyPr/>
        <a:lstStyle/>
        <a:p>
          <a:endParaRPr lang="en-US"/>
        </a:p>
      </dgm:t>
    </dgm:pt>
    <dgm:pt modelId="{0AF1DCE9-DD45-416D-8003-AC5D78D5BAFA}">
      <dgm:prSet/>
      <dgm:spPr/>
      <dgm:t>
        <a:bodyPr/>
        <a:lstStyle/>
        <a:p>
          <a:endParaRPr lang="en-US" dirty="0"/>
        </a:p>
      </dgm:t>
    </dgm:pt>
    <dgm:pt modelId="{E4EF28A3-0AD4-4F2A-BB6C-ED17B417E18E}" type="parTrans" cxnId="{13B62420-5096-4637-854C-4D03402B2440}">
      <dgm:prSet/>
      <dgm:spPr/>
      <dgm:t>
        <a:bodyPr/>
        <a:lstStyle/>
        <a:p>
          <a:endParaRPr lang="en-US"/>
        </a:p>
      </dgm:t>
    </dgm:pt>
    <dgm:pt modelId="{7EAA1B46-DA16-4570-B431-D462C7EEB0FF}" type="sibTrans" cxnId="{13B62420-5096-4637-854C-4D03402B2440}">
      <dgm:prSet/>
      <dgm:spPr/>
      <dgm:t>
        <a:bodyPr/>
        <a:lstStyle/>
        <a:p>
          <a:endParaRPr lang="en-US"/>
        </a:p>
      </dgm:t>
    </dgm:pt>
    <dgm:pt modelId="{6CCDBD64-427F-4373-BA4C-952766083390}">
      <dgm:prSet/>
      <dgm:spPr/>
      <dgm:t>
        <a:bodyPr/>
        <a:lstStyle/>
        <a:p>
          <a:endParaRPr lang="en-US" dirty="0"/>
        </a:p>
      </dgm:t>
    </dgm:pt>
    <dgm:pt modelId="{6198B59E-893D-4AD9-BB34-585FD7DF5C95}" type="parTrans" cxnId="{F0EDFC1E-1230-4F67-BCAB-D1670B3EDD12}">
      <dgm:prSet/>
      <dgm:spPr/>
      <dgm:t>
        <a:bodyPr/>
        <a:lstStyle/>
        <a:p>
          <a:endParaRPr lang="en-US"/>
        </a:p>
      </dgm:t>
    </dgm:pt>
    <dgm:pt modelId="{8CF7D97A-8162-4C17-9C1D-D8CDA4D6C28B}" type="sibTrans" cxnId="{F0EDFC1E-1230-4F67-BCAB-D1670B3EDD12}">
      <dgm:prSet/>
      <dgm:spPr/>
      <dgm:t>
        <a:bodyPr/>
        <a:lstStyle/>
        <a:p>
          <a:endParaRPr lang="en-US"/>
        </a:p>
      </dgm:t>
    </dgm:pt>
    <dgm:pt modelId="{1E55ED33-0951-4B2B-A3D5-5EFB734522D4}" type="pres">
      <dgm:prSet presAssocID="{2CCA5B7E-21A6-4DC3-AEB6-73C0341295A9}" presName="root" presStyleCnt="0">
        <dgm:presLayoutVars>
          <dgm:dir/>
          <dgm:resizeHandles val="exact"/>
        </dgm:presLayoutVars>
      </dgm:prSet>
      <dgm:spPr/>
    </dgm:pt>
    <dgm:pt modelId="{E9491E1C-A07B-4BE9-9851-80ED2972F1A5}" type="pres">
      <dgm:prSet presAssocID="{E795DB93-7A97-450F-98F4-ED1E9136DB97}" presName="compNode" presStyleCnt="0"/>
      <dgm:spPr/>
    </dgm:pt>
    <dgm:pt modelId="{66A3DAA9-DB59-4706-A27B-466FAABE7F09}" type="pres">
      <dgm:prSet presAssocID="{E795DB93-7A97-450F-98F4-ED1E9136DB9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ptain"/>
        </a:ext>
      </dgm:extLst>
    </dgm:pt>
    <dgm:pt modelId="{C2CD11CD-23CA-4935-BF03-B26B488EAA20}" type="pres">
      <dgm:prSet presAssocID="{E795DB93-7A97-450F-98F4-ED1E9136DB97}" presName="spaceRect" presStyleCnt="0"/>
      <dgm:spPr/>
    </dgm:pt>
    <dgm:pt modelId="{8CFEC6EC-C75B-4D5F-BF78-3A7B6AC37F8F}" type="pres">
      <dgm:prSet presAssocID="{E795DB93-7A97-450F-98F4-ED1E9136DB97}" presName="textRect" presStyleLbl="revTx" presStyleIdx="0" presStyleCnt="4">
        <dgm:presLayoutVars>
          <dgm:chMax val="1"/>
          <dgm:chPref val="1"/>
        </dgm:presLayoutVars>
      </dgm:prSet>
      <dgm:spPr/>
    </dgm:pt>
    <dgm:pt modelId="{A534A6A3-6FED-4FC9-93D3-56D82216C7D0}" type="pres">
      <dgm:prSet presAssocID="{A1C8728D-DD21-4CAC-83E7-6F49F6B34D00}" presName="sibTrans" presStyleCnt="0"/>
      <dgm:spPr/>
    </dgm:pt>
    <dgm:pt modelId="{1EEB9D7E-5DEB-40EC-8DD9-776DDE6FFF80}" type="pres">
      <dgm:prSet presAssocID="{C1E51F19-9EB4-4BFA-9965-31A70CF860D2}" presName="compNode" presStyleCnt="0"/>
      <dgm:spPr/>
    </dgm:pt>
    <dgm:pt modelId="{36F343E4-A148-4814-80CB-87DAED571C9A}" type="pres">
      <dgm:prSet presAssocID="{C1E51F19-9EB4-4BFA-9965-31A70CF860D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Office Worker"/>
        </a:ext>
      </dgm:extLst>
    </dgm:pt>
    <dgm:pt modelId="{701675BD-9CB4-4207-9086-136ED0A7226E}" type="pres">
      <dgm:prSet presAssocID="{C1E51F19-9EB4-4BFA-9965-31A70CF860D2}" presName="spaceRect" presStyleCnt="0"/>
      <dgm:spPr/>
    </dgm:pt>
    <dgm:pt modelId="{49798EB1-FC90-4757-94C7-B1833DF5E1FC}" type="pres">
      <dgm:prSet presAssocID="{C1E51F19-9EB4-4BFA-9965-31A70CF860D2}" presName="textRect" presStyleLbl="revTx" presStyleIdx="1" presStyleCnt="4">
        <dgm:presLayoutVars>
          <dgm:chMax val="1"/>
          <dgm:chPref val="1"/>
        </dgm:presLayoutVars>
      </dgm:prSet>
      <dgm:spPr/>
    </dgm:pt>
    <dgm:pt modelId="{2A06A861-B52F-4CB6-85A6-6DFA209E9D00}" type="pres">
      <dgm:prSet presAssocID="{B70D632C-0E88-46DE-AEEF-23B4995490BB}" presName="sibTrans" presStyleCnt="0"/>
      <dgm:spPr/>
    </dgm:pt>
    <dgm:pt modelId="{E9CCCEBF-175A-4F6C-B6BF-84BF4C9892C4}" type="pres">
      <dgm:prSet presAssocID="{0AF1DCE9-DD45-416D-8003-AC5D78D5BAFA}" presName="compNode" presStyleCnt="0"/>
      <dgm:spPr/>
    </dgm:pt>
    <dgm:pt modelId="{136A9F91-6A6F-46F9-A4ED-5B62981E95F3}" type="pres">
      <dgm:prSet presAssocID="{0AF1DCE9-DD45-416D-8003-AC5D78D5BAFA}"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uzzle Pieces"/>
        </a:ext>
      </dgm:extLst>
    </dgm:pt>
    <dgm:pt modelId="{045AB37F-D2AB-4B4B-8937-36D718022F0A}" type="pres">
      <dgm:prSet presAssocID="{0AF1DCE9-DD45-416D-8003-AC5D78D5BAFA}" presName="spaceRect" presStyleCnt="0"/>
      <dgm:spPr/>
    </dgm:pt>
    <dgm:pt modelId="{3CCD5E3F-7E15-4586-8B11-C0DA7E26115D}" type="pres">
      <dgm:prSet presAssocID="{0AF1DCE9-DD45-416D-8003-AC5D78D5BAFA}" presName="textRect" presStyleLbl="revTx" presStyleIdx="2" presStyleCnt="4">
        <dgm:presLayoutVars>
          <dgm:chMax val="1"/>
          <dgm:chPref val="1"/>
        </dgm:presLayoutVars>
      </dgm:prSet>
      <dgm:spPr/>
    </dgm:pt>
    <dgm:pt modelId="{99AA3E1E-EE19-42F4-B429-DC8ACBF1B412}" type="pres">
      <dgm:prSet presAssocID="{7EAA1B46-DA16-4570-B431-D462C7EEB0FF}" presName="sibTrans" presStyleCnt="0"/>
      <dgm:spPr/>
    </dgm:pt>
    <dgm:pt modelId="{016C186A-D641-4DA7-9F5B-96008F0C5A6E}" type="pres">
      <dgm:prSet presAssocID="{6CCDBD64-427F-4373-BA4C-952766083390}" presName="compNode" presStyleCnt="0"/>
      <dgm:spPr/>
    </dgm:pt>
    <dgm:pt modelId="{D102E7BA-8D0D-4BD4-AC01-79C635F42917}" type="pres">
      <dgm:prSet presAssocID="{6CCDBD64-427F-4373-BA4C-95276608339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rocessor"/>
        </a:ext>
      </dgm:extLst>
    </dgm:pt>
    <dgm:pt modelId="{1BC64CA1-87C2-4B1E-8A8B-173F0F471C34}" type="pres">
      <dgm:prSet presAssocID="{6CCDBD64-427F-4373-BA4C-952766083390}" presName="spaceRect" presStyleCnt="0"/>
      <dgm:spPr/>
    </dgm:pt>
    <dgm:pt modelId="{C6EBB2D3-B429-4C59-8094-FAFC3A6734BC}" type="pres">
      <dgm:prSet presAssocID="{6CCDBD64-427F-4373-BA4C-952766083390}" presName="textRect" presStyleLbl="revTx" presStyleIdx="3" presStyleCnt="4">
        <dgm:presLayoutVars>
          <dgm:chMax val="1"/>
          <dgm:chPref val="1"/>
        </dgm:presLayoutVars>
      </dgm:prSet>
      <dgm:spPr/>
    </dgm:pt>
  </dgm:ptLst>
  <dgm:cxnLst>
    <dgm:cxn modelId="{F0EDFC1E-1230-4F67-BCAB-D1670B3EDD12}" srcId="{2CCA5B7E-21A6-4DC3-AEB6-73C0341295A9}" destId="{6CCDBD64-427F-4373-BA4C-952766083390}" srcOrd="3" destOrd="0" parTransId="{6198B59E-893D-4AD9-BB34-585FD7DF5C95}" sibTransId="{8CF7D97A-8162-4C17-9C1D-D8CDA4D6C28B}"/>
    <dgm:cxn modelId="{13B62420-5096-4637-854C-4D03402B2440}" srcId="{2CCA5B7E-21A6-4DC3-AEB6-73C0341295A9}" destId="{0AF1DCE9-DD45-416D-8003-AC5D78D5BAFA}" srcOrd="2" destOrd="0" parTransId="{E4EF28A3-0AD4-4F2A-BB6C-ED17B417E18E}" sibTransId="{7EAA1B46-DA16-4570-B431-D462C7EEB0FF}"/>
    <dgm:cxn modelId="{A25F8523-40B1-47DB-8627-56E8B6BBAFEE}" type="presOf" srcId="{C1E51F19-9EB4-4BFA-9965-31A70CF860D2}" destId="{49798EB1-FC90-4757-94C7-B1833DF5E1FC}" srcOrd="0" destOrd="0" presId="urn:microsoft.com/office/officeart/2018/2/layout/IconLabelList"/>
    <dgm:cxn modelId="{B02DAE81-278C-4C87-851D-4AB83F77BA19}" srcId="{2CCA5B7E-21A6-4DC3-AEB6-73C0341295A9}" destId="{E795DB93-7A97-450F-98F4-ED1E9136DB97}" srcOrd="0" destOrd="0" parTransId="{5B8FA836-B932-461E-8FB8-E5B80EA0822F}" sibTransId="{A1C8728D-DD21-4CAC-83E7-6F49F6B34D00}"/>
    <dgm:cxn modelId="{6C5E4B9F-D674-45F3-AA7C-E485FF4F2786}" srcId="{2CCA5B7E-21A6-4DC3-AEB6-73C0341295A9}" destId="{C1E51F19-9EB4-4BFA-9965-31A70CF860D2}" srcOrd="1" destOrd="0" parTransId="{4B84D0E7-894C-4089-9E92-AB79AF63F277}" sibTransId="{B70D632C-0E88-46DE-AEEF-23B4995490BB}"/>
    <dgm:cxn modelId="{9F0B52B7-E878-4EAB-BA30-4F31045A34A5}" type="presOf" srcId="{6CCDBD64-427F-4373-BA4C-952766083390}" destId="{C6EBB2D3-B429-4C59-8094-FAFC3A6734BC}" srcOrd="0" destOrd="0" presId="urn:microsoft.com/office/officeart/2018/2/layout/IconLabelList"/>
    <dgm:cxn modelId="{568226CA-25FA-4781-82E9-440C1D8F474B}" type="presOf" srcId="{0AF1DCE9-DD45-416D-8003-AC5D78D5BAFA}" destId="{3CCD5E3F-7E15-4586-8B11-C0DA7E26115D}" srcOrd="0" destOrd="0" presId="urn:microsoft.com/office/officeart/2018/2/layout/IconLabelList"/>
    <dgm:cxn modelId="{DAE7ABDC-1BC6-4E9B-9D0E-44F6166AF3D3}" type="presOf" srcId="{E795DB93-7A97-450F-98F4-ED1E9136DB97}" destId="{8CFEC6EC-C75B-4D5F-BF78-3A7B6AC37F8F}" srcOrd="0" destOrd="0" presId="urn:microsoft.com/office/officeart/2018/2/layout/IconLabelList"/>
    <dgm:cxn modelId="{DE1808F8-0DF3-4D2C-88AB-8EA1546BE934}" type="presOf" srcId="{2CCA5B7E-21A6-4DC3-AEB6-73C0341295A9}" destId="{1E55ED33-0951-4B2B-A3D5-5EFB734522D4}" srcOrd="0" destOrd="0" presId="urn:microsoft.com/office/officeart/2018/2/layout/IconLabelList"/>
    <dgm:cxn modelId="{60D5292A-C524-4DF4-AADE-B3151894724B}" type="presParOf" srcId="{1E55ED33-0951-4B2B-A3D5-5EFB734522D4}" destId="{E9491E1C-A07B-4BE9-9851-80ED2972F1A5}" srcOrd="0" destOrd="0" presId="urn:microsoft.com/office/officeart/2018/2/layout/IconLabelList"/>
    <dgm:cxn modelId="{0EA62072-EA38-4239-94A6-127C11AD6FD9}" type="presParOf" srcId="{E9491E1C-A07B-4BE9-9851-80ED2972F1A5}" destId="{66A3DAA9-DB59-4706-A27B-466FAABE7F09}" srcOrd="0" destOrd="0" presId="urn:microsoft.com/office/officeart/2018/2/layout/IconLabelList"/>
    <dgm:cxn modelId="{AE2ECE8F-1624-4790-A64F-1E3F702AA623}" type="presParOf" srcId="{E9491E1C-A07B-4BE9-9851-80ED2972F1A5}" destId="{C2CD11CD-23CA-4935-BF03-B26B488EAA20}" srcOrd="1" destOrd="0" presId="urn:microsoft.com/office/officeart/2018/2/layout/IconLabelList"/>
    <dgm:cxn modelId="{4C057801-5681-4B03-AE78-8BAD5089009A}" type="presParOf" srcId="{E9491E1C-A07B-4BE9-9851-80ED2972F1A5}" destId="{8CFEC6EC-C75B-4D5F-BF78-3A7B6AC37F8F}" srcOrd="2" destOrd="0" presId="urn:microsoft.com/office/officeart/2018/2/layout/IconLabelList"/>
    <dgm:cxn modelId="{A20AF26A-9EA8-4652-A8EE-4D0C4A5F920F}" type="presParOf" srcId="{1E55ED33-0951-4B2B-A3D5-5EFB734522D4}" destId="{A534A6A3-6FED-4FC9-93D3-56D82216C7D0}" srcOrd="1" destOrd="0" presId="urn:microsoft.com/office/officeart/2018/2/layout/IconLabelList"/>
    <dgm:cxn modelId="{3C602942-FA68-466C-915D-4C4FBC7BE76C}" type="presParOf" srcId="{1E55ED33-0951-4B2B-A3D5-5EFB734522D4}" destId="{1EEB9D7E-5DEB-40EC-8DD9-776DDE6FFF80}" srcOrd="2" destOrd="0" presId="urn:microsoft.com/office/officeart/2018/2/layout/IconLabelList"/>
    <dgm:cxn modelId="{88C31D1C-8E1C-42D7-A58D-A60E81EB67F0}" type="presParOf" srcId="{1EEB9D7E-5DEB-40EC-8DD9-776DDE6FFF80}" destId="{36F343E4-A148-4814-80CB-87DAED571C9A}" srcOrd="0" destOrd="0" presId="urn:microsoft.com/office/officeart/2018/2/layout/IconLabelList"/>
    <dgm:cxn modelId="{0F9226BA-3AA4-4CC7-B897-1F2FC89799B5}" type="presParOf" srcId="{1EEB9D7E-5DEB-40EC-8DD9-776DDE6FFF80}" destId="{701675BD-9CB4-4207-9086-136ED0A7226E}" srcOrd="1" destOrd="0" presId="urn:microsoft.com/office/officeart/2018/2/layout/IconLabelList"/>
    <dgm:cxn modelId="{6B92DCCB-BE64-4226-B3CB-5DE85D0F18C6}" type="presParOf" srcId="{1EEB9D7E-5DEB-40EC-8DD9-776DDE6FFF80}" destId="{49798EB1-FC90-4757-94C7-B1833DF5E1FC}" srcOrd="2" destOrd="0" presId="urn:microsoft.com/office/officeart/2018/2/layout/IconLabelList"/>
    <dgm:cxn modelId="{F6BD1555-6535-4343-9E1E-F8462CB02C49}" type="presParOf" srcId="{1E55ED33-0951-4B2B-A3D5-5EFB734522D4}" destId="{2A06A861-B52F-4CB6-85A6-6DFA209E9D00}" srcOrd="3" destOrd="0" presId="urn:microsoft.com/office/officeart/2018/2/layout/IconLabelList"/>
    <dgm:cxn modelId="{7592A9B8-DA85-4F92-B939-2B7E79AC4F63}" type="presParOf" srcId="{1E55ED33-0951-4B2B-A3D5-5EFB734522D4}" destId="{E9CCCEBF-175A-4F6C-B6BF-84BF4C9892C4}" srcOrd="4" destOrd="0" presId="urn:microsoft.com/office/officeart/2018/2/layout/IconLabelList"/>
    <dgm:cxn modelId="{4C877A86-42FA-4C4B-AB63-8D825AB7D3E3}" type="presParOf" srcId="{E9CCCEBF-175A-4F6C-B6BF-84BF4C9892C4}" destId="{136A9F91-6A6F-46F9-A4ED-5B62981E95F3}" srcOrd="0" destOrd="0" presId="urn:microsoft.com/office/officeart/2018/2/layout/IconLabelList"/>
    <dgm:cxn modelId="{95C907A7-C302-4CBD-9A52-12D7224FB5FE}" type="presParOf" srcId="{E9CCCEBF-175A-4F6C-B6BF-84BF4C9892C4}" destId="{045AB37F-D2AB-4B4B-8937-36D718022F0A}" srcOrd="1" destOrd="0" presId="urn:microsoft.com/office/officeart/2018/2/layout/IconLabelList"/>
    <dgm:cxn modelId="{E5A7EC72-453C-48F5-AB6B-F7B9DD990EBB}" type="presParOf" srcId="{E9CCCEBF-175A-4F6C-B6BF-84BF4C9892C4}" destId="{3CCD5E3F-7E15-4586-8B11-C0DA7E26115D}" srcOrd="2" destOrd="0" presId="urn:microsoft.com/office/officeart/2018/2/layout/IconLabelList"/>
    <dgm:cxn modelId="{406CBC91-4AF3-4638-A3F1-D2C84DD4EAB6}" type="presParOf" srcId="{1E55ED33-0951-4B2B-A3D5-5EFB734522D4}" destId="{99AA3E1E-EE19-42F4-B429-DC8ACBF1B412}" srcOrd="5" destOrd="0" presId="urn:microsoft.com/office/officeart/2018/2/layout/IconLabelList"/>
    <dgm:cxn modelId="{54B8B158-32CE-41BE-93E1-2275DF0F1C8B}" type="presParOf" srcId="{1E55ED33-0951-4B2B-A3D5-5EFB734522D4}" destId="{016C186A-D641-4DA7-9F5B-96008F0C5A6E}" srcOrd="6" destOrd="0" presId="urn:microsoft.com/office/officeart/2018/2/layout/IconLabelList"/>
    <dgm:cxn modelId="{021F1568-988A-42D3-BBA0-69099A252D93}" type="presParOf" srcId="{016C186A-D641-4DA7-9F5B-96008F0C5A6E}" destId="{D102E7BA-8D0D-4BD4-AC01-79C635F42917}" srcOrd="0" destOrd="0" presId="urn:microsoft.com/office/officeart/2018/2/layout/IconLabelList"/>
    <dgm:cxn modelId="{B54EDC06-7654-498B-96A2-32E6FBCD9248}" type="presParOf" srcId="{016C186A-D641-4DA7-9F5B-96008F0C5A6E}" destId="{1BC64CA1-87C2-4B1E-8A8B-173F0F471C34}" srcOrd="1" destOrd="0" presId="urn:microsoft.com/office/officeart/2018/2/layout/IconLabelList"/>
    <dgm:cxn modelId="{C4620DEE-A975-4EF3-85F7-996E98814F33}" type="presParOf" srcId="{016C186A-D641-4DA7-9F5B-96008F0C5A6E}" destId="{C6EBB2D3-B429-4C59-8094-FAFC3A6734BC}"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68F335-70E9-4503-B1BF-3EDEE3A7903C}">
      <dsp:nvSpPr>
        <dsp:cNvPr id="0" name=""/>
        <dsp:cNvSpPr/>
      </dsp:nvSpPr>
      <dsp:spPr>
        <a:xfrm>
          <a:off x="0" y="0"/>
          <a:ext cx="8128000" cy="16933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latin typeface="Arial" panose="020B0604020202020204" pitchFamily="34" charset="0"/>
              <a:cs typeface="Arial" panose="020B0604020202020204" pitchFamily="34" charset="0"/>
            </a:rPr>
            <a:t>Les textes internationaux</a:t>
          </a:r>
        </a:p>
        <a:p>
          <a:pPr marL="228600" lvl="1" indent="-228600" algn="l" defTabSz="977900">
            <a:lnSpc>
              <a:spcPct val="90000"/>
            </a:lnSpc>
            <a:spcBef>
              <a:spcPct val="0"/>
            </a:spcBef>
            <a:spcAft>
              <a:spcPct val="15000"/>
            </a:spcAft>
            <a:buChar char="•"/>
          </a:pPr>
          <a:r>
            <a:rPr lang="fr-FR" sz="2200" kern="1200" dirty="0">
              <a:latin typeface="Arial" panose="020B0604020202020204" pitchFamily="34" charset="0"/>
              <a:cs typeface="Arial" panose="020B0604020202020204" pitchFamily="34" charset="0"/>
            </a:rPr>
            <a:t>Traités</a:t>
          </a:r>
        </a:p>
        <a:p>
          <a:pPr marL="228600" lvl="1" indent="-228600" algn="l" defTabSz="977900">
            <a:lnSpc>
              <a:spcPct val="90000"/>
            </a:lnSpc>
            <a:spcBef>
              <a:spcPct val="0"/>
            </a:spcBef>
            <a:spcAft>
              <a:spcPct val="15000"/>
            </a:spcAft>
            <a:buChar char="•"/>
          </a:pPr>
          <a:r>
            <a:rPr lang="fr-FR" sz="2200" kern="1200" dirty="0">
              <a:latin typeface="Arial" panose="020B0604020202020204" pitchFamily="34" charset="0"/>
              <a:cs typeface="Arial" panose="020B0604020202020204" pitchFamily="34" charset="0"/>
            </a:rPr>
            <a:t>Règlements</a:t>
          </a:r>
        </a:p>
        <a:p>
          <a:pPr marL="228600" lvl="1" indent="-228600" algn="l" defTabSz="977900">
            <a:lnSpc>
              <a:spcPct val="90000"/>
            </a:lnSpc>
            <a:spcBef>
              <a:spcPct val="0"/>
            </a:spcBef>
            <a:spcAft>
              <a:spcPct val="15000"/>
            </a:spcAft>
            <a:buChar char="•"/>
          </a:pPr>
          <a:r>
            <a:rPr lang="fr-FR" sz="2200" kern="1200" dirty="0">
              <a:latin typeface="Arial" panose="020B0604020202020204" pitchFamily="34" charset="0"/>
              <a:cs typeface="Arial" panose="020B0604020202020204" pitchFamily="34" charset="0"/>
            </a:rPr>
            <a:t>Directives notamment européennes</a:t>
          </a:r>
        </a:p>
      </dsp:txBody>
      <dsp:txXfrm>
        <a:off x="1794933" y="0"/>
        <a:ext cx="6333066" cy="1693333"/>
      </dsp:txXfrm>
    </dsp:sp>
    <dsp:sp modelId="{C78BC5B7-8F94-48B4-B8FF-27B36C86994A}">
      <dsp:nvSpPr>
        <dsp:cNvPr id="0" name=""/>
        <dsp:cNvSpPr/>
      </dsp:nvSpPr>
      <dsp:spPr>
        <a:xfrm>
          <a:off x="169333" y="169333"/>
          <a:ext cx="1625600" cy="1354666"/>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B49AA85-8556-481E-9710-1782948917FA}">
      <dsp:nvSpPr>
        <dsp:cNvPr id="0" name=""/>
        <dsp:cNvSpPr/>
      </dsp:nvSpPr>
      <dsp:spPr>
        <a:xfrm>
          <a:off x="0" y="1862666"/>
          <a:ext cx="8128000" cy="16933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latin typeface="Arial" panose="020B0604020202020204" pitchFamily="34" charset="0"/>
              <a:cs typeface="Arial" panose="020B0604020202020204" pitchFamily="34" charset="0"/>
            </a:rPr>
            <a:t>Les textes nationaux</a:t>
          </a:r>
        </a:p>
        <a:p>
          <a:pPr marL="228600" lvl="1" indent="-228600" algn="l" defTabSz="977900">
            <a:lnSpc>
              <a:spcPct val="90000"/>
            </a:lnSpc>
            <a:spcBef>
              <a:spcPct val="0"/>
            </a:spcBef>
            <a:spcAft>
              <a:spcPct val="15000"/>
            </a:spcAft>
            <a:buChar char="•"/>
          </a:pPr>
          <a:r>
            <a:rPr lang="fr-FR" sz="2200" kern="1200" dirty="0">
              <a:latin typeface="Arial" panose="020B0604020202020204" pitchFamily="34" charset="0"/>
              <a:cs typeface="Arial" panose="020B0604020202020204" pitchFamily="34" charset="0"/>
            </a:rPr>
            <a:t>Lois /ordonnances / décrets / arrêtés</a:t>
          </a:r>
        </a:p>
        <a:p>
          <a:pPr marL="228600" lvl="1" indent="-228600" algn="l" defTabSz="977900">
            <a:lnSpc>
              <a:spcPct val="90000"/>
            </a:lnSpc>
            <a:spcBef>
              <a:spcPct val="0"/>
            </a:spcBef>
            <a:spcAft>
              <a:spcPct val="15000"/>
            </a:spcAft>
            <a:buChar char="•"/>
          </a:pPr>
          <a:r>
            <a:rPr lang="fr-FR" sz="2200" kern="1200" dirty="0">
              <a:latin typeface="Arial" panose="020B0604020202020204" pitchFamily="34" charset="0"/>
              <a:cs typeface="Arial" panose="020B0604020202020204" pitchFamily="34" charset="0"/>
            </a:rPr>
            <a:t>(code de commerce, code monétaire et financier…)</a:t>
          </a:r>
        </a:p>
      </dsp:txBody>
      <dsp:txXfrm>
        <a:off x="1794933" y="1862666"/>
        <a:ext cx="6333066" cy="1693333"/>
      </dsp:txXfrm>
    </dsp:sp>
    <dsp:sp modelId="{6444A6FD-B210-4F6F-902D-F22E5BD576E3}">
      <dsp:nvSpPr>
        <dsp:cNvPr id="0" name=""/>
        <dsp:cNvSpPr/>
      </dsp:nvSpPr>
      <dsp:spPr>
        <a:xfrm>
          <a:off x="169333" y="2032000"/>
          <a:ext cx="1625600" cy="1354666"/>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922C9D-894B-4011-9103-9B4F5E0AC408}">
      <dsp:nvSpPr>
        <dsp:cNvPr id="0" name=""/>
        <dsp:cNvSpPr/>
      </dsp:nvSpPr>
      <dsp:spPr>
        <a:xfrm>
          <a:off x="0" y="3725333"/>
          <a:ext cx="8128000" cy="16933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fr-FR" sz="2800" kern="1200" dirty="0">
              <a:latin typeface="Arial" panose="020B0604020202020204" pitchFamily="34" charset="0"/>
              <a:cs typeface="Arial" panose="020B0604020202020204" pitchFamily="34" charset="0"/>
            </a:rPr>
            <a:t>Les autres sources</a:t>
          </a:r>
        </a:p>
        <a:p>
          <a:pPr marL="228600" lvl="1" indent="-228600" algn="l" defTabSz="977900">
            <a:lnSpc>
              <a:spcPct val="90000"/>
            </a:lnSpc>
            <a:spcBef>
              <a:spcPct val="0"/>
            </a:spcBef>
            <a:spcAft>
              <a:spcPct val="15000"/>
            </a:spcAft>
            <a:buChar char="•"/>
          </a:pPr>
          <a:r>
            <a:rPr lang="fr-FR" sz="2200" kern="1200" dirty="0">
              <a:latin typeface="Arial" panose="020B0604020202020204" pitchFamily="34" charset="0"/>
              <a:cs typeface="Arial" panose="020B0604020202020204" pitchFamily="34" charset="0"/>
            </a:rPr>
            <a:t>Jurisprudence / doctrine</a:t>
          </a:r>
        </a:p>
      </dsp:txBody>
      <dsp:txXfrm>
        <a:off x="1794933" y="3725333"/>
        <a:ext cx="6333066" cy="1693333"/>
      </dsp:txXfrm>
    </dsp:sp>
    <dsp:sp modelId="{C0C17F41-BE34-4DA9-9716-F6607A6A1A75}">
      <dsp:nvSpPr>
        <dsp:cNvPr id="0" name=""/>
        <dsp:cNvSpPr/>
      </dsp:nvSpPr>
      <dsp:spPr>
        <a:xfrm>
          <a:off x="169333" y="3894666"/>
          <a:ext cx="1625600" cy="1354666"/>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321EF5-6240-412C-90D1-A1F72BD36BFC}">
      <dsp:nvSpPr>
        <dsp:cNvPr id="0" name=""/>
        <dsp:cNvSpPr/>
      </dsp:nvSpPr>
      <dsp:spPr>
        <a:xfrm>
          <a:off x="5910122" y="734826"/>
          <a:ext cx="4719409" cy="2437659"/>
        </a:xfrm>
        <a:prstGeom prst="rect">
          <a:avLst/>
        </a:prstGeom>
        <a:blipFill>
          <a:blip xmlns:r="http://schemas.openxmlformats.org/officeDocument/2006/relationships" r:embed="rId1"/>
          <a:srcRect/>
          <a:stretch>
            <a:fillRect t="-22000" b="-22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DCF38BE-2164-4341-8072-A4C837E8DEDD}">
      <dsp:nvSpPr>
        <dsp:cNvPr id="0" name=""/>
        <dsp:cNvSpPr/>
      </dsp:nvSpPr>
      <dsp:spPr>
        <a:xfrm>
          <a:off x="708656" y="3413084"/>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2222500">
            <a:lnSpc>
              <a:spcPct val="90000"/>
            </a:lnSpc>
            <a:spcBef>
              <a:spcPct val="0"/>
            </a:spcBef>
            <a:spcAft>
              <a:spcPct val="35000"/>
            </a:spcAft>
            <a:buNone/>
          </a:pPr>
          <a:endParaRPr lang="en-US" sz="5000" kern="1200"/>
        </a:p>
      </dsp:txBody>
      <dsp:txXfrm>
        <a:off x="708656" y="3413084"/>
        <a:ext cx="4320000" cy="720000"/>
      </dsp:txXfrm>
    </dsp:sp>
    <dsp:sp modelId="{66A3DAA9-DB59-4706-A27B-466FAABE7F09}">
      <dsp:nvSpPr>
        <dsp:cNvPr id="0" name=""/>
        <dsp:cNvSpPr/>
      </dsp:nvSpPr>
      <dsp:spPr>
        <a:xfrm>
          <a:off x="95286" y="511923"/>
          <a:ext cx="4429851" cy="360470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51000" b="-51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FEC6EC-C75B-4D5F-BF78-3A7B6AC37F8F}">
      <dsp:nvSpPr>
        <dsp:cNvPr id="0" name=""/>
        <dsp:cNvSpPr/>
      </dsp:nvSpPr>
      <dsp:spPr>
        <a:xfrm>
          <a:off x="6039287" y="3704845"/>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2222500">
            <a:lnSpc>
              <a:spcPct val="90000"/>
            </a:lnSpc>
            <a:spcBef>
              <a:spcPct val="0"/>
            </a:spcBef>
            <a:spcAft>
              <a:spcPct val="35000"/>
            </a:spcAft>
            <a:buNone/>
          </a:pPr>
          <a:endParaRPr lang="en-US" sz="5000" kern="1200"/>
        </a:p>
      </dsp:txBody>
      <dsp:txXfrm>
        <a:off x="6039287" y="3704845"/>
        <a:ext cx="4320000" cy="720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A3DAA9-DB59-4706-A27B-466FAABE7F09}">
      <dsp:nvSpPr>
        <dsp:cNvPr id="0" name=""/>
        <dsp:cNvSpPr/>
      </dsp:nvSpPr>
      <dsp:spPr>
        <a:xfrm>
          <a:off x="0" y="151091"/>
          <a:ext cx="3831046" cy="3934536"/>
        </a:xfrm>
        <a:prstGeom prst="rect">
          <a:avLst/>
        </a:prstGeom>
        <a:blipFill>
          <a:blip xmlns:r="http://schemas.openxmlformats.org/officeDocument/2006/relationships" r:embed="rId1"/>
          <a:srcRect/>
          <a:stretch>
            <a:fillRect l="-40000" r="-40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FEC6EC-C75B-4D5F-BF78-3A7B6AC37F8F}">
      <dsp:nvSpPr>
        <dsp:cNvPr id="0" name=""/>
        <dsp:cNvSpPr/>
      </dsp:nvSpPr>
      <dsp:spPr>
        <a:xfrm>
          <a:off x="22826" y="3496412"/>
          <a:ext cx="4162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2222500">
            <a:lnSpc>
              <a:spcPct val="90000"/>
            </a:lnSpc>
            <a:spcBef>
              <a:spcPct val="0"/>
            </a:spcBef>
            <a:spcAft>
              <a:spcPct val="35000"/>
            </a:spcAft>
            <a:buNone/>
          </a:pPr>
          <a:endParaRPr lang="en-US" sz="5000" kern="1200"/>
        </a:p>
      </dsp:txBody>
      <dsp:txXfrm>
        <a:off x="22826" y="3496412"/>
        <a:ext cx="4162500" cy="720000"/>
      </dsp:txXfrm>
    </dsp:sp>
    <dsp:sp modelId="{36F343E4-A148-4814-80CB-87DAED571C9A}">
      <dsp:nvSpPr>
        <dsp:cNvPr id="0" name=""/>
        <dsp:cNvSpPr/>
      </dsp:nvSpPr>
      <dsp:spPr>
        <a:xfrm>
          <a:off x="4590444" y="340866"/>
          <a:ext cx="5579009" cy="3912321"/>
        </a:xfrm>
        <a:prstGeom prst="rect">
          <a:avLst/>
        </a:prstGeom>
        <a:blipFill>
          <a:blip xmlns:r="http://schemas.openxmlformats.org/officeDocument/2006/relationships" r:embed="rId2"/>
          <a:srcRect/>
          <a:stretch>
            <a:fillRect t="-19000" b="-19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798EB1-FC90-4757-94C7-B1833DF5E1FC}">
      <dsp:nvSpPr>
        <dsp:cNvPr id="0" name=""/>
        <dsp:cNvSpPr/>
      </dsp:nvSpPr>
      <dsp:spPr>
        <a:xfrm>
          <a:off x="5622018" y="3490858"/>
          <a:ext cx="4162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2222500">
            <a:lnSpc>
              <a:spcPct val="90000"/>
            </a:lnSpc>
            <a:spcBef>
              <a:spcPct val="0"/>
            </a:spcBef>
            <a:spcAft>
              <a:spcPct val="35000"/>
            </a:spcAft>
            <a:buNone/>
          </a:pPr>
          <a:endParaRPr lang="en-US" sz="5000" kern="1200"/>
        </a:p>
      </dsp:txBody>
      <dsp:txXfrm>
        <a:off x="5622018" y="3490858"/>
        <a:ext cx="4162500" cy="7200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03A4E2-85EB-4630-BD42-818D47DD9797}">
      <dsp:nvSpPr>
        <dsp:cNvPr id="0" name=""/>
        <dsp:cNvSpPr/>
      </dsp:nvSpPr>
      <dsp:spPr>
        <a:xfrm>
          <a:off x="0" y="50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1F7FAB-4F4E-4299-A891-A5EF5E8257A1}">
      <dsp:nvSpPr>
        <dsp:cNvPr id="0" name=""/>
        <dsp:cNvSpPr/>
      </dsp:nvSpPr>
      <dsp:spPr>
        <a:xfrm>
          <a:off x="209818" y="156567"/>
          <a:ext cx="381488" cy="3814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CA80E8-489C-475D-8C18-EF27A6EAB0CE}">
      <dsp:nvSpPr>
        <dsp:cNvPr id="0" name=""/>
        <dsp:cNvSpPr/>
      </dsp:nvSpPr>
      <dsp:spPr>
        <a:xfrm>
          <a:off x="801126" y="50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RSI</a:t>
          </a:r>
        </a:p>
      </dsp:txBody>
      <dsp:txXfrm>
        <a:off x="801126" y="503"/>
        <a:ext cx="5787564" cy="693615"/>
      </dsp:txXfrm>
    </dsp:sp>
    <dsp:sp modelId="{ACE1DEE3-5DBF-4209-BC3F-77153AA21EF0}">
      <dsp:nvSpPr>
        <dsp:cNvPr id="0" name=""/>
        <dsp:cNvSpPr/>
      </dsp:nvSpPr>
      <dsp:spPr>
        <a:xfrm>
          <a:off x="0" y="86752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B8A3268-5C46-4EC8-8F37-82FDEF5DC58A}">
      <dsp:nvSpPr>
        <dsp:cNvPr id="0" name=""/>
        <dsp:cNvSpPr/>
      </dsp:nvSpPr>
      <dsp:spPr>
        <a:xfrm>
          <a:off x="209818" y="1023587"/>
          <a:ext cx="381488" cy="3814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70F255B-2A33-413E-BE80-0F29C01AD211}">
      <dsp:nvSpPr>
        <dsp:cNvPr id="0" name=""/>
        <dsp:cNvSpPr/>
      </dsp:nvSpPr>
      <dsp:spPr>
        <a:xfrm>
          <a:off x="801126" y="86752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PM</a:t>
          </a:r>
        </a:p>
      </dsp:txBody>
      <dsp:txXfrm>
        <a:off x="801126" y="867523"/>
        <a:ext cx="5787564" cy="693615"/>
      </dsp:txXfrm>
    </dsp:sp>
    <dsp:sp modelId="{F4C39026-A17F-4CD6-AE73-30F790063AA3}">
      <dsp:nvSpPr>
        <dsp:cNvPr id="0" name=""/>
        <dsp:cNvSpPr/>
      </dsp:nvSpPr>
      <dsp:spPr>
        <a:xfrm>
          <a:off x="0" y="173454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B1DF5A-3E2C-4C21-8D06-13C49A4AB1A3}">
      <dsp:nvSpPr>
        <dsp:cNvPr id="0" name=""/>
        <dsp:cNvSpPr/>
      </dsp:nvSpPr>
      <dsp:spPr>
        <a:xfrm>
          <a:off x="209818" y="1890607"/>
          <a:ext cx="381488" cy="3814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589111-C90F-4327-83E7-E170428FC020}">
      <dsp:nvSpPr>
        <dsp:cNvPr id="0" name=""/>
        <dsp:cNvSpPr/>
      </dsp:nvSpPr>
      <dsp:spPr>
        <a:xfrm>
          <a:off x="801126" y="173454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CH</a:t>
          </a:r>
        </a:p>
      </dsp:txBody>
      <dsp:txXfrm>
        <a:off x="801126" y="1734543"/>
        <a:ext cx="5787564" cy="693615"/>
      </dsp:txXfrm>
    </dsp:sp>
    <dsp:sp modelId="{37F0C475-4C58-4DA5-BA88-E94F51CC98CB}">
      <dsp:nvSpPr>
        <dsp:cNvPr id="0" name=""/>
        <dsp:cNvSpPr/>
      </dsp:nvSpPr>
      <dsp:spPr>
        <a:xfrm>
          <a:off x="0" y="260156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714754-D045-4941-932A-78081CCBA8EB}">
      <dsp:nvSpPr>
        <dsp:cNvPr id="0" name=""/>
        <dsp:cNvSpPr/>
      </dsp:nvSpPr>
      <dsp:spPr>
        <a:xfrm>
          <a:off x="209818" y="2757627"/>
          <a:ext cx="381488" cy="38148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B1AC777-8B37-41E6-8B9B-E787B9FE9935}">
      <dsp:nvSpPr>
        <dsp:cNvPr id="0" name=""/>
        <dsp:cNvSpPr/>
      </dsp:nvSpPr>
      <dsp:spPr>
        <a:xfrm>
          <a:off x="801126" y="260156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P</a:t>
          </a:r>
        </a:p>
      </dsp:txBody>
      <dsp:txXfrm>
        <a:off x="801126" y="2601563"/>
        <a:ext cx="5787564" cy="693615"/>
      </dsp:txXfrm>
    </dsp:sp>
    <dsp:sp modelId="{B3F5ECC9-F47C-4643-8D49-0B497267BDC4}">
      <dsp:nvSpPr>
        <dsp:cNvPr id="0" name=""/>
        <dsp:cNvSpPr/>
      </dsp:nvSpPr>
      <dsp:spPr>
        <a:xfrm>
          <a:off x="0" y="346858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2F4037-266A-437D-9094-0B6BE43220FF}">
      <dsp:nvSpPr>
        <dsp:cNvPr id="0" name=""/>
        <dsp:cNvSpPr/>
      </dsp:nvSpPr>
      <dsp:spPr>
        <a:xfrm>
          <a:off x="209818" y="3624647"/>
          <a:ext cx="381488" cy="38148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9A83D0-4362-4306-BBB0-799F5A93163B}">
      <dsp:nvSpPr>
        <dsp:cNvPr id="0" name=""/>
        <dsp:cNvSpPr/>
      </dsp:nvSpPr>
      <dsp:spPr>
        <a:xfrm>
          <a:off x="801126" y="346858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NC</a:t>
          </a:r>
        </a:p>
      </dsp:txBody>
      <dsp:txXfrm>
        <a:off x="801126" y="3468583"/>
        <a:ext cx="5787564" cy="693615"/>
      </dsp:txXfrm>
    </dsp:sp>
    <dsp:sp modelId="{80F276E8-A2D9-4597-9B86-6B626CFEEE84}">
      <dsp:nvSpPr>
        <dsp:cNvPr id="0" name=""/>
        <dsp:cNvSpPr/>
      </dsp:nvSpPr>
      <dsp:spPr>
        <a:xfrm>
          <a:off x="0" y="433560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E41791-8DD4-4DB1-8D78-A7C58F61F763}">
      <dsp:nvSpPr>
        <dsp:cNvPr id="0" name=""/>
        <dsp:cNvSpPr/>
      </dsp:nvSpPr>
      <dsp:spPr>
        <a:xfrm>
          <a:off x="209818" y="4491666"/>
          <a:ext cx="381488" cy="38148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2ABBBD-0CC4-42A7-85C7-9F4D1B14EA8D}">
      <dsp:nvSpPr>
        <dsp:cNvPr id="0" name=""/>
        <dsp:cNvSpPr/>
      </dsp:nvSpPr>
      <dsp:spPr>
        <a:xfrm>
          <a:off x="801126" y="433560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IBO</a:t>
          </a:r>
        </a:p>
      </dsp:txBody>
      <dsp:txXfrm>
        <a:off x="801126" y="4335603"/>
        <a:ext cx="5787564" cy="693615"/>
      </dsp:txXfrm>
    </dsp:sp>
    <dsp:sp modelId="{BE2A0ED2-AC81-4C0C-BFC6-DC8DC3720CE6}">
      <dsp:nvSpPr>
        <dsp:cNvPr id="0" name=""/>
        <dsp:cNvSpPr/>
      </dsp:nvSpPr>
      <dsp:spPr>
        <a:xfrm>
          <a:off x="0" y="5202623"/>
          <a:ext cx="6588691" cy="69361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9B511C-F3FE-45BE-A184-82660C2AD062}">
      <dsp:nvSpPr>
        <dsp:cNvPr id="0" name=""/>
        <dsp:cNvSpPr/>
      </dsp:nvSpPr>
      <dsp:spPr>
        <a:xfrm>
          <a:off x="209818" y="5358686"/>
          <a:ext cx="381488" cy="381488"/>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97025A-1E49-444B-82AE-E1D248E88FE4}">
      <dsp:nvSpPr>
        <dsp:cNvPr id="0" name=""/>
        <dsp:cNvSpPr/>
      </dsp:nvSpPr>
      <dsp:spPr>
        <a:xfrm>
          <a:off x="801126" y="5202623"/>
          <a:ext cx="5787564" cy="69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408" tIns="73408" rIns="73408" bIns="73408" numCol="1" spcCol="1270" anchor="ctr" anchorCtr="0">
          <a:noAutofit/>
        </a:bodyPr>
        <a:lstStyle/>
        <a:p>
          <a:pPr marL="0" lvl="0" indent="0" algn="l" defTabSz="711200">
            <a:lnSpc>
              <a:spcPct val="100000"/>
            </a:lnSpc>
            <a:spcBef>
              <a:spcPct val="0"/>
            </a:spcBef>
            <a:spcAft>
              <a:spcPct val="35000"/>
            </a:spcAft>
            <a:buNone/>
          </a:pPr>
          <a:r>
            <a:rPr lang="en-US" sz="1600" kern="1200"/>
            <a:t>SE</a:t>
          </a:r>
        </a:p>
      </dsp:txBody>
      <dsp:txXfrm>
        <a:off x="801126" y="5202623"/>
        <a:ext cx="5787564" cy="6936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F34F9F-54D0-4962-9BA0-0AAC4D1451CE}">
      <dsp:nvSpPr>
        <dsp:cNvPr id="0" name=""/>
        <dsp:cNvSpPr/>
      </dsp:nvSpPr>
      <dsp:spPr>
        <a:xfrm>
          <a:off x="2946796" y="2791"/>
          <a:ext cx="2234406" cy="11172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latin typeface="Arial" panose="020B0604020202020204" pitchFamily="34" charset="0"/>
              <a:cs typeface="Arial" panose="020B0604020202020204" pitchFamily="34" charset="0"/>
            </a:rPr>
            <a:t>Code commerce</a:t>
          </a:r>
        </a:p>
      </dsp:txBody>
      <dsp:txXfrm>
        <a:off x="2979518" y="35513"/>
        <a:ext cx="2168962" cy="1051759"/>
      </dsp:txXfrm>
    </dsp:sp>
    <dsp:sp modelId="{B4A7E25D-0407-42DC-828E-473E61939AEC}">
      <dsp:nvSpPr>
        <dsp:cNvPr id="0" name=""/>
        <dsp:cNvSpPr/>
      </dsp:nvSpPr>
      <dsp:spPr>
        <a:xfrm rot="2700000">
          <a:off x="4554897" y="1439852"/>
          <a:ext cx="1166145" cy="391021"/>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a:p>
      </dsp:txBody>
      <dsp:txXfrm>
        <a:off x="4672203" y="1518056"/>
        <a:ext cx="931533" cy="234613"/>
      </dsp:txXfrm>
    </dsp:sp>
    <dsp:sp modelId="{8B36BD13-5B48-4F07-BD38-4D11C03A618B}">
      <dsp:nvSpPr>
        <dsp:cNvPr id="0" name=""/>
        <dsp:cNvSpPr/>
      </dsp:nvSpPr>
      <dsp:spPr>
        <a:xfrm>
          <a:off x="5094736" y="2150731"/>
          <a:ext cx="2234406" cy="11172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t>IAS/IFRS</a:t>
          </a:r>
        </a:p>
      </dsp:txBody>
      <dsp:txXfrm>
        <a:off x="5127458" y="2183453"/>
        <a:ext cx="2168962" cy="1051759"/>
      </dsp:txXfrm>
    </dsp:sp>
    <dsp:sp modelId="{D9C51DA5-7E39-461E-980B-664FF6337EFA}">
      <dsp:nvSpPr>
        <dsp:cNvPr id="0" name=""/>
        <dsp:cNvSpPr/>
      </dsp:nvSpPr>
      <dsp:spPr>
        <a:xfrm rot="8100000">
          <a:off x="4554897" y="3587792"/>
          <a:ext cx="1166145" cy="391021"/>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a:p>
      </dsp:txBody>
      <dsp:txXfrm rot="10800000">
        <a:off x="4672203" y="3665996"/>
        <a:ext cx="931533" cy="234613"/>
      </dsp:txXfrm>
    </dsp:sp>
    <dsp:sp modelId="{40B904F2-ED60-48C6-8A45-6E7B6D1B2C81}">
      <dsp:nvSpPr>
        <dsp:cNvPr id="0" name=""/>
        <dsp:cNvSpPr/>
      </dsp:nvSpPr>
      <dsp:spPr>
        <a:xfrm>
          <a:off x="2946796" y="4298671"/>
          <a:ext cx="2234406" cy="11172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t>ANC/PCG</a:t>
          </a:r>
        </a:p>
      </dsp:txBody>
      <dsp:txXfrm>
        <a:off x="2979518" y="4331393"/>
        <a:ext cx="2168962" cy="1051759"/>
      </dsp:txXfrm>
    </dsp:sp>
    <dsp:sp modelId="{D332A5C7-3C46-4328-A427-7AC278D4954C}">
      <dsp:nvSpPr>
        <dsp:cNvPr id="0" name=""/>
        <dsp:cNvSpPr/>
      </dsp:nvSpPr>
      <dsp:spPr>
        <a:xfrm rot="13500000">
          <a:off x="2406957" y="3587792"/>
          <a:ext cx="1166145" cy="391021"/>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a:p>
      </dsp:txBody>
      <dsp:txXfrm rot="10800000">
        <a:off x="2524263" y="3665996"/>
        <a:ext cx="931533" cy="234613"/>
      </dsp:txXfrm>
    </dsp:sp>
    <dsp:sp modelId="{251CC174-9539-4142-906D-48D53B313846}">
      <dsp:nvSpPr>
        <dsp:cNvPr id="0" name=""/>
        <dsp:cNvSpPr/>
      </dsp:nvSpPr>
      <dsp:spPr>
        <a:xfrm>
          <a:off x="798856" y="2150731"/>
          <a:ext cx="2234406" cy="11172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t>Directives européennes</a:t>
          </a:r>
        </a:p>
      </dsp:txBody>
      <dsp:txXfrm>
        <a:off x="831578" y="2183453"/>
        <a:ext cx="2168962" cy="1051759"/>
      </dsp:txXfrm>
    </dsp:sp>
    <dsp:sp modelId="{CE13F613-EA16-46D1-B58E-4D00C6299BC8}">
      <dsp:nvSpPr>
        <dsp:cNvPr id="0" name=""/>
        <dsp:cNvSpPr/>
      </dsp:nvSpPr>
      <dsp:spPr>
        <a:xfrm rot="18900000">
          <a:off x="2406957" y="1439852"/>
          <a:ext cx="1166145" cy="391021"/>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fr-FR" sz="1600" kern="1200"/>
        </a:p>
      </dsp:txBody>
      <dsp:txXfrm>
        <a:off x="2524263" y="1518056"/>
        <a:ext cx="931533" cy="2346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C40B62-37AB-4369-9E77-148940E7326E}">
      <dsp:nvSpPr>
        <dsp:cNvPr id="0" name=""/>
        <dsp:cNvSpPr/>
      </dsp:nvSpPr>
      <dsp:spPr>
        <a:xfrm>
          <a:off x="753282" y="0"/>
          <a:ext cx="1300800" cy="722667"/>
        </a:xfrm>
        <a:prstGeom prst="roundRect">
          <a:avLst>
            <a:gd name="adj" fmla="val 10000"/>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IAS</a:t>
          </a:r>
        </a:p>
      </dsp:txBody>
      <dsp:txXfrm>
        <a:off x="774448" y="21166"/>
        <a:ext cx="1258468" cy="680335"/>
      </dsp:txXfrm>
    </dsp:sp>
    <dsp:sp modelId="{ED84B430-E144-430B-85DB-76D40D860EE8}">
      <dsp:nvSpPr>
        <dsp:cNvPr id="0" name=""/>
        <dsp:cNvSpPr/>
      </dsp:nvSpPr>
      <dsp:spPr>
        <a:xfrm>
          <a:off x="2632216" y="0"/>
          <a:ext cx="1300800" cy="722667"/>
        </a:xfrm>
        <a:prstGeom prst="roundRect">
          <a:avLst>
            <a:gd name="adj" fmla="val 10000"/>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fr-FR" sz="3200" kern="1200" dirty="0"/>
            <a:t>IFRS</a:t>
          </a:r>
        </a:p>
      </dsp:txBody>
      <dsp:txXfrm>
        <a:off x="2653382" y="21166"/>
        <a:ext cx="1258468" cy="680335"/>
      </dsp:txXfrm>
    </dsp:sp>
    <dsp:sp modelId="{6280F2B4-A026-45A5-AE8C-FFF9DB0FBC20}">
      <dsp:nvSpPr>
        <dsp:cNvPr id="0" name=""/>
        <dsp:cNvSpPr/>
      </dsp:nvSpPr>
      <dsp:spPr>
        <a:xfrm>
          <a:off x="2072149" y="3071335"/>
          <a:ext cx="542000" cy="542000"/>
        </a:xfrm>
        <a:prstGeom prst="triangle">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CE1F18-74FB-4A06-9632-9DE3CF1AA884}">
      <dsp:nvSpPr>
        <dsp:cNvPr id="0" name=""/>
        <dsp:cNvSpPr/>
      </dsp:nvSpPr>
      <dsp:spPr>
        <a:xfrm>
          <a:off x="717148" y="2844418"/>
          <a:ext cx="3252002" cy="2196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97E9A3-9390-4EFE-BEA0-BC9E1FBE6014}">
      <dsp:nvSpPr>
        <dsp:cNvPr id="0" name=""/>
        <dsp:cNvSpPr/>
      </dsp:nvSpPr>
      <dsp:spPr>
        <a:xfrm>
          <a:off x="2632216" y="1893388"/>
          <a:ext cx="1300800" cy="92501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fr-FR" sz="3900" kern="1200" dirty="0"/>
            <a:t>F</a:t>
          </a:r>
        </a:p>
      </dsp:txBody>
      <dsp:txXfrm>
        <a:off x="2677371" y="1938543"/>
        <a:ext cx="1210490" cy="834704"/>
      </dsp:txXfrm>
    </dsp:sp>
    <dsp:sp modelId="{C9B2498B-8C84-41A3-9922-ADB3EF5A3A9E}">
      <dsp:nvSpPr>
        <dsp:cNvPr id="0" name=""/>
        <dsp:cNvSpPr/>
      </dsp:nvSpPr>
      <dsp:spPr>
        <a:xfrm>
          <a:off x="2632216" y="925014"/>
          <a:ext cx="1300800" cy="92501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fr-FR" sz="3900" kern="1200" dirty="0"/>
            <a:t>17</a:t>
          </a:r>
        </a:p>
      </dsp:txBody>
      <dsp:txXfrm>
        <a:off x="2677371" y="970169"/>
        <a:ext cx="1210490" cy="834704"/>
      </dsp:txXfrm>
    </dsp:sp>
    <dsp:sp modelId="{FE7FEC95-79C4-4823-8A9A-138F14D05921}">
      <dsp:nvSpPr>
        <dsp:cNvPr id="0" name=""/>
        <dsp:cNvSpPr/>
      </dsp:nvSpPr>
      <dsp:spPr>
        <a:xfrm>
          <a:off x="753282" y="1893388"/>
          <a:ext cx="1300800" cy="92501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fr-FR" sz="3900" kern="1200" dirty="0"/>
            <a:t>A</a:t>
          </a:r>
        </a:p>
      </dsp:txBody>
      <dsp:txXfrm>
        <a:off x="798437" y="1938543"/>
        <a:ext cx="1210490" cy="834704"/>
      </dsp:txXfrm>
    </dsp:sp>
    <dsp:sp modelId="{6ED9110D-5561-41F7-8F5E-BE71C00B38F5}">
      <dsp:nvSpPr>
        <dsp:cNvPr id="0" name=""/>
        <dsp:cNvSpPr/>
      </dsp:nvSpPr>
      <dsp:spPr>
        <a:xfrm>
          <a:off x="753282" y="925014"/>
          <a:ext cx="1300800" cy="92501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fr-FR" sz="3900" kern="1200" dirty="0"/>
            <a:t>41</a:t>
          </a:r>
        </a:p>
      </dsp:txBody>
      <dsp:txXfrm>
        <a:off x="798437" y="970169"/>
        <a:ext cx="1210490" cy="8347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4B4098-570F-4890-A54C-721607CE468C}">
      <dsp:nvSpPr>
        <dsp:cNvPr id="0" name=""/>
        <dsp:cNvSpPr/>
      </dsp:nvSpPr>
      <dsp:spPr>
        <a:xfrm>
          <a:off x="0" y="1247023"/>
          <a:ext cx="10576558" cy="2494046"/>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fr-FR" sz="3100" kern="1200" dirty="0">
              <a:latin typeface="Arial" panose="020B0604020202020204" pitchFamily="34" charset="0"/>
              <a:cs typeface="Arial" panose="020B0604020202020204" pitchFamily="34" charset="0"/>
            </a:rPr>
            <a:t>La comptabilité = </a:t>
          </a:r>
          <a:r>
            <a:rPr lang="fr-FR" sz="3100" b="0" i="0" kern="1200" dirty="0">
              <a:latin typeface="Arial" panose="020B0604020202020204" pitchFamily="34" charset="0"/>
              <a:cs typeface="Arial" panose="020B0604020202020204" pitchFamily="34" charset="0"/>
            </a:rPr>
            <a:t>langage + système d’information</a:t>
          </a:r>
        </a:p>
        <a:p>
          <a:pPr marL="0" lvl="0" indent="0" algn="ctr" defTabSz="1377950">
            <a:lnSpc>
              <a:spcPct val="90000"/>
            </a:lnSpc>
            <a:spcBef>
              <a:spcPct val="0"/>
            </a:spcBef>
            <a:spcAft>
              <a:spcPct val="35000"/>
            </a:spcAft>
            <a:buNone/>
          </a:pPr>
          <a:r>
            <a:rPr lang="fr-FR" sz="3100" b="0" i="0" kern="1200" dirty="0">
              <a:latin typeface="Arial" panose="020B0604020202020204" pitchFamily="34" charset="0"/>
              <a:cs typeface="Arial" panose="020B0604020202020204" pitchFamily="34" charset="0"/>
            </a:rPr>
            <a:t>Elle sert à communiquer</a:t>
          </a:r>
        </a:p>
        <a:p>
          <a:pPr marL="0" lvl="0" indent="0" algn="ctr" defTabSz="1377950">
            <a:lnSpc>
              <a:spcPct val="90000"/>
            </a:lnSpc>
            <a:spcBef>
              <a:spcPct val="0"/>
            </a:spcBef>
            <a:spcAft>
              <a:spcPct val="35000"/>
            </a:spcAft>
            <a:buNone/>
          </a:pPr>
          <a:r>
            <a:rPr lang="fr-FR" sz="3100" b="0" i="0" kern="1200" dirty="0">
              <a:latin typeface="Arial" panose="020B0604020202020204" pitchFamily="34" charset="0"/>
              <a:cs typeface="Arial" panose="020B0604020202020204" pitchFamily="34" charset="0"/>
            </a:rPr>
            <a:t>Objectif : établir les états financiers (Bilan, Compte de résultat et Annexes) selon des règles reconnues par tous</a:t>
          </a:r>
          <a:endParaRPr lang="fr-FR" sz="3100" kern="1200" dirty="0">
            <a:latin typeface="Arial" panose="020B0604020202020204" pitchFamily="34" charset="0"/>
            <a:cs typeface="Arial" panose="020B0604020202020204" pitchFamily="34" charset="0"/>
          </a:endParaRPr>
        </a:p>
      </dsp:txBody>
      <dsp:txXfrm>
        <a:off x="73048" y="1320071"/>
        <a:ext cx="10430462" cy="23479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60F32E-F128-4007-86D0-18B1ADC22BEC}">
      <dsp:nvSpPr>
        <dsp:cNvPr id="0" name=""/>
        <dsp:cNvSpPr/>
      </dsp:nvSpPr>
      <dsp:spPr>
        <a:xfrm>
          <a:off x="804" y="847751"/>
          <a:ext cx="2822091" cy="17920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790600-121B-4230-A11C-F5C6CD593A36}">
      <dsp:nvSpPr>
        <dsp:cNvPr id="0" name=""/>
        <dsp:cNvSpPr/>
      </dsp:nvSpPr>
      <dsp:spPr>
        <a:xfrm>
          <a:off x="314369" y="1145639"/>
          <a:ext cx="2822091" cy="17920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Le plan comptable general</a:t>
          </a:r>
        </a:p>
      </dsp:txBody>
      <dsp:txXfrm>
        <a:off x="366856" y="1198126"/>
        <a:ext cx="2717117" cy="1687054"/>
      </dsp:txXfrm>
    </dsp:sp>
    <dsp:sp modelId="{98E64413-4A92-4FF2-A7AB-0D641E733D7A}">
      <dsp:nvSpPr>
        <dsp:cNvPr id="0" name=""/>
        <dsp:cNvSpPr/>
      </dsp:nvSpPr>
      <dsp:spPr>
        <a:xfrm>
          <a:off x="3450027" y="847751"/>
          <a:ext cx="2822091" cy="17920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CB8C87-9047-485C-9BFD-16F9A0E917D2}">
      <dsp:nvSpPr>
        <dsp:cNvPr id="0" name=""/>
        <dsp:cNvSpPr/>
      </dsp:nvSpPr>
      <dsp:spPr>
        <a:xfrm>
          <a:off x="3763593" y="1145639"/>
          <a:ext cx="2822091" cy="17920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La liste abrégée</a:t>
          </a:r>
        </a:p>
      </dsp:txBody>
      <dsp:txXfrm>
        <a:off x="3816080" y="1198126"/>
        <a:ext cx="2717117" cy="16870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D3E854-24C4-40BA-8F8B-4429261A2642}">
      <dsp:nvSpPr>
        <dsp:cNvPr id="0" name=""/>
        <dsp:cNvSpPr/>
      </dsp:nvSpPr>
      <dsp:spPr>
        <a:xfrm>
          <a:off x="0" y="0"/>
          <a:ext cx="8564203" cy="961084"/>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fr-FR" sz="2000" b="0" i="0" kern="1200" dirty="0">
              <a:solidFill>
                <a:schemeClr val="bg1"/>
              </a:solidFill>
              <a:effectLst/>
              <a:latin typeface="Arial" panose="020B0604020202020204" pitchFamily="34" charset="0"/>
              <a:ea typeface="+mn-ea"/>
              <a:cs typeface="Arial" panose="020B0604020202020204" pitchFamily="34" charset="0"/>
            </a:rPr>
            <a:t>Le PCG rappelle les objets et les principes de la </a:t>
          </a:r>
          <a:r>
            <a:rPr lang="fr-FR" sz="2000" b="0" i="0" kern="1200" dirty="0">
              <a:solidFill>
                <a:schemeClr val="bg1"/>
              </a:solidFill>
              <a:effectLst/>
              <a:latin typeface="Arial" panose="020B0604020202020204" pitchFamily="34" charset="0"/>
              <a:ea typeface="+mn-ea"/>
              <a:cs typeface="Arial" panose="020B0604020202020204" pitchFamily="34" charset="0"/>
              <a:hlinkClick xmlns:r="http://schemas.openxmlformats.org/officeDocument/2006/relationships" r:id="rId1" tooltip="Comptabilité">
                <a:extLst>
                  <a:ext uri="{A12FA001-AC4F-418D-AE19-62706E023703}">
                    <ahyp:hlinkClr xmlns:ahyp="http://schemas.microsoft.com/office/drawing/2018/hyperlinkcolor" val="tx"/>
                  </a:ext>
                </a:extLst>
              </a:hlinkClick>
            </a:rPr>
            <a:t>comptabilité</a:t>
          </a:r>
          <a:r>
            <a:rPr lang="fr-FR" sz="2000" b="0" i="0" kern="1200" dirty="0">
              <a:solidFill>
                <a:schemeClr val="bg1"/>
              </a:solidFill>
              <a:effectLst/>
              <a:latin typeface="Arial" panose="020B0604020202020204" pitchFamily="34" charset="0"/>
              <a:ea typeface="+mn-ea"/>
              <a:cs typeface="Arial" panose="020B0604020202020204" pitchFamily="34" charset="0"/>
            </a:rPr>
            <a:t> ;</a:t>
          </a:r>
        </a:p>
      </dsp:txBody>
      <dsp:txXfrm>
        <a:off x="28149" y="28149"/>
        <a:ext cx="7414672" cy="904786"/>
      </dsp:txXfrm>
    </dsp:sp>
    <dsp:sp modelId="{B6C4E33E-F905-4F29-B298-28917DFBEAA2}">
      <dsp:nvSpPr>
        <dsp:cNvPr id="0" name=""/>
        <dsp:cNvSpPr/>
      </dsp:nvSpPr>
      <dsp:spPr>
        <a:xfrm>
          <a:off x="639534" y="1094567"/>
          <a:ext cx="8564203" cy="961084"/>
        </a:xfrm>
        <a:prstGeom prst="roundRect">
          <a:avLst>
            <a:gd name="adj" fmla="val 10000"/>
          </a:avLst>
        </a:prstGeom>
        <a:solidFill>
          <a:schemeClr val="accent2">
            <a:hueOff val="-363841"/>
            <a:satOff val="-20982"/>
            <a:lumOff val="215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Arial" panose="020B0604020202020204" pitchFamily="34" charset="0"/>
            <a:buNone/>
          </a:pPr>
          <a:r>
            <a:rPr lang="fr-FR" sz="1800" b="0" i="0" kern="1200" dirty="0">
              <a:solidFill>
                <a:schemeClr val="bg1"/>
              </a:solidFill>
            </a:rPr>
            <a:t>Le PCG définit les principales notions utilisées : </a:t>
          </a:r>
          <a:r>
            <a:rPr lang="fr-FR" sz="1800" b="0" i="0" kern="1200" dirty="0">
              <a:solidFill>
                <a:schemeClr val="bg1"/>
              </a:solidFill>
              <a:hlinkClick xmlns:r="http://schemas.openxmlformats.org/officeDocument/2006/relationships" r:id="rId2" tooltip="Bilan comptable">
                <a:extLst>
                  <a:ext uri="{A12FA001-AC4F-418D-AE19-62706E023703}">
                    <ahyp:hlinkClr xmlns:ahyp="http://schemas.microsoft.com/office/drawing/2018/hyperlinkcolor" val="tx"/>
                  </a:ext>
                </a:extLst>
              </a:hlinkClick>
            </a:rPr>
            <a:t>bilan</a:t>
          </a:r>
          <a:r>
            <a:rPr lang="fr-FR" sz="1800" b="0" i="0" kern="1200" dirty="0">
              <a:solidFill>
                <a:schemeClr val="bg1"/>
              </a:solidFill>
            </a:rPr>
            <a:t>, </a:t>
          </a:r>
          <a:r>
            <a:rPr lang="fr-FR" sz="1800" b="0" i="0" kern="1200" dirty="0">
              <a:solidFill>
                <a:schemeClr val="bg1"/>
              </a:solidFill>
              <a:hlinkClick xmlns:r="http://schemas.openxmlformats.org/officeDocument/2006/relationships" r:id="rId3" tooltip="Compte de résultat">
                <a:extLst>
                  <a:ext uri="{A12FA001-AC4F-418D-AE19-62706E023703}">
                    <ahyp:hlinkClr xmlns:ahyp="http://schemas.microsoft.com/office/drawing/2018/hyperlinkcolor" val="tx"/>
                  </a:ext>
                </a:extLst>
              </a:hlinkClick>
            </a:rPr>
            <a:t>compte de résultat</a:t>
          </a:r>
          <a:r>
            <a:rPr lang="fr-FR" sz="1800" b="0" i="0" kern="1200" dirty="0">
              <a:solidFill>
                <a:schemeClr val="bg1"/>
              </a:solidFill>
            </a:rPr>
            <a:t> et annexe, </a:t>
          </a:r>
          <a:r>
            <a:rPr lang="fr-FR" sz="1800" b="0" i="0" kern="1200" dirty="0">
              <a:solidFill>
                <a:schemeClr val="bg1"/>
              </a:solidFill>
              <a:hlinkClick xmlns:r="http://schemas.openxmlformats.org/officeDocument/2006/relationships" r:id="rId4" tooltip="Passif (comptabilité)">
                <a:extLst>
                  <a:ext uri="{A12FA001-AC4F-418D-AE19-62706E023703}">
                    <ahyp:hlinkClr xmlns:ahyp="http://schemas.microsoft.com/office/drawing/2018/hyperlinkcolor" val="tx"/>
                  </a:ext>
                </a:extLst>
              </a:hlinkClick>
            </a:rPr>
            <a:t>passif</a:t>
          </a:r>
          <a:r>
            <a:rPr lang="fr-FR" sz="1800" b="0" i="0" kern="1200" dirty="0">
              <a:solidFill>
                <a:schemeClr val="bg1"/>
              </a:solidFill>
            </a:rPr>
            <a:t> et </a:t>
          </a:r>
          <a:r>
            <a:rPr lang="fr-FR" sz="1800" b="0" i="0" kern="1200" dirty="0">
              <a:solidFill>
                <a:schemeClr val="bg1"/>
              </a:solidFill>
              <a:hlinkClick xmlns:r="http://schemas.openxmlformats.org/officeDocument/2006/relationships" r:id="rId5" tooltip="Actif (comptabilité)">
                <a:extLst>
                  <a:ext uri="{A12FA001-AC4F-418D-AE19-62706E023703}">
                    <ahyp:hlinkClr xmlns:ahyp="http://schemas.microsoft.com/office/drawing/2018/hyperlinkcolor" val="tx"/>
                  </a:ext>
                </a:extLst>
              </a:hlinkClick>
            </a:rPr>
            <a:t>actif</a:t>
          </a:r>
          <a:r>
            <a:rPr lang="fr-FR" sz="1800" b="0" i="0" kern="1200" dirty="0">
              <a:solidFill>
                <a:schemeClr val="bg1"/>
              </a:solidFill>
            </a:rPr>
            <a:t>, produits, charges et résultat, et présente les règles de comptabilisation et d'évaluation ;</a:t>
          </a:r>
        </a:p>
      </dsp:txBody>
      <dsp:txXfrm>
        <a:off x="667683" y="1122716"/>
        <a:ext cx="7243666" cy="904786"/>
      </dsp:txXfrm>
    </dsp:sp>
    <dsp:sp modelId="{58DC2CC5-B767-45B5-8E7D-C43EB70635B6}">
      <dsp:nvSpPr>
        <dsp:cNvPr id="0" name=""/>
        <dsp:cNvSpPr/>
      </dsp:nvSpPr>
      <dsp:spPr>
        <a:xfrm>
          <a:off x="1279069" y="2189135"/>
          <a:ext cx="8564203" cy="961084"/>
        </a:xfrm>
        <a:prstGeom prst="roundRect">
          <a:avLst>
            <a:gd name="adj" fmla="val 10000"/>
          </a:avLst>
        </a:prstGeom>
        <a:solidFill>
          <a:schemeClr val="accent2">
            <a:hueOff val="-727682"/>
            <a:satOff val="-41964"/>
            <a:lumOff val="431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Font typeface="Arial" panose="020B0604020202020204" pitchFamily="34" charset="0"/>
            <a:buNone/>
          </a:pPr>
          <a:r>
            <a:rPr lang="fr-FR" sz="2300" b="0" i="0" kern="1200" dirty="0"/>
            <a:t>Le PCG précise les règles de tenue des comptes et fournit notamment la nomenclature complète des comptes</a:t>
          </a:r>
        </a:p>
      </dsp:txBody>
      <dsp:txXfrm>
        <a:off x="1307218" y="2217284"/>
        <a:ext cx="7243666" cy="904786"/>
      </dsp:txXfrm>
    </dsp:sp>
    <dsp:sp modelId="{7E003039-4E07-475B-9B0A-542702F96900}">
      <dsp:nvSpPr>
        <dsp:cNvPr id="0" name=""/>
        <dsp:cNvSpPr/>
      </dsp:nvSpPr>
      <dsp:spPr>
        <a:xfrm>
          <a:off x="1918603" y="3283703"/>
          <a:ext cx="8564203" cy="961084"/>
        </a:xfrm>
        <a:prstGeom prst="roundRect">
          <a:avLst>
            <a:gd name="adj" fmla="val 10000"/>
          </a:avLst>
        </a:prstGeom>
        <a:solidFill>
          <a:schemeClr val="accent2">
            <a:hueOff val="-1091522"/>
            <a:satOff val="-62946"/>
            <a:lumOff val="647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Font typeface="Arial" panose="020B0604020202020204" pitchFamily="34" charset="0"/>
            <a:buNone/>
          </a:pPr>
          <a:r>
            <a:rPr lang="fr-FR" sz="2300" b="0" i="0" kern="1200" dirty="0"/>
            <a:t>Le PCG décrit les documents de synthèse (comptes annuels) ;</a:t>
          </a:r>
        </a:p>
      </dsp:txBody>
      <dsp:txXfrm>
        <a:off x="1946752" y="3311852"/>
        <a:ext cx="7243666" cy="904786"/>
      </dsp:txXfrm>
    </dsp:sp>
    <dsp:sp modelId="{E966EB57-D218-4B99-B6DB-45BD4607FD93}">
      <dsp:nvSpPr>
        <dsp:cNvPr id="0" name=""/>
        <dsp:cNvSpPr/>
      </dsp:nvSpPr>
      <dsp:spPr>
        <a:xfrm>
          <a:off x="2558138" y="4378271"/>
          <a:ext cx="8564203" cy="961084"/>
        </a:xfrm>
        <a:prstGeom prst="roundRect">
          <a:avLst>
            <a:gd name="adj" fmla="val 10000"/>
          </a:avLst>
        </a:prstGeom>
        <a:solidFill>
          <a:schemeClr val="accent2">
            <a:hueOff val="-1455363"/>
            <a:satOff val="-83928"/>
            <a:lumOff val="862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Font typeface="Arial" panose="020B0604020202020204" pitchFamily="34" charset="0"/>
            <a:buNone/>
          </a:pPr>
          <a:r>
            <a:rPr lang="fr-FR" sz="2300" b="0" i="0" kern="1200" dirty="0"/>
            <a:t>Le PCG reprend en annexe certaines règles de comptabilisation particulières, </a:t>
          </a:r>
        </a:p>
      </dsp:txBody>
      <dsp:txXfrm>
        <a:off x="2586287" y="4406420"/>
        <a:ext cx="7243666" cy="904786"/>
      </dsp:txXfrm>
    </dsp:sp>
    <dsp:sp modelId="{7C526E41-01DC-4DDF-A2D6-6E488C2C800E}">
      <dsp:nvSpPr>
        <dsp:cNvPr id="0" name=""/>
        <dsp:cNvSpPr/>
      </dsp:nvSpPr>
      <dsp:spPr>
        <a:xfrm>
          <a:off x="7939498" y="702125"/>
          <a:ext cx="624704" cy="624704"/>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fr-FR" sz="2800" kern="1200"/>
        </a:p>
      </dsp:txBody>
      <dsp:txXfrm>
        <a:off x="8080056" y="702125"/>
        <a:ext cx="343588" cy="470090"/>
      </dsp:txXfrm>
    </dsp:sp>
    <dsp:sp modelId="{48F4DB6B-6DC9-4946-B498-180DA4CEE3B2}">
      <dsp:nvSpPr>
        <dsp:cNvPr id="0" name=""/>
        <dsp:cNvSpPr/>
      </dsp:nvSpPr>
      <dsp:spPr>
        <a:xfrm>
          <a:off x="8579033" y="1796693"/>
          <a:ext cx="624704" cy="624704"/>
        </a:xfrm>
        <a:prstGeom prst="downArrow">
          <a:avLst>
            <a:gd name="adj1" fmla="val 55000"/>
            <a:gd name="adj2" fmla="val 45000"/>
          </a:avLst>
        </a:prstGeom>
        <a:solidFill>
          <a:schemeClr val="accent2">
            <a:tint val="40000"/>
            <a:alpha val="90000"/>
            <a:hueOff val="-283075"/>
            <a:satOff val="-25115"/>
            <a:lumOff val="-256"/>
            <a:alphaOff val="0"/>
          </a:schemeClr>
        </a:solidFill>
        <a:ln w="12700" cap="flat" cmpd="sng" algn="ctr">
          <a:solidFill>
            <a:schemeClr val="accent2">
              <a:tint val="40000"/>
              <a:alpha val="90000"/>
              <a:hueOff val="-283075"/>
              <a:satOff val="-25115"/>
              <a:lumOff val="-25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fr-FR" sz="2800" kern="1200"/>
        </a:p>
      </dsp:txBody>
      <dsp:txXfrm>
        <a:off x="8719591" y="1796693"/>
        <a:ext cx="343588" cy="470090"/>
      </dsp:txXfrm>
    </dsp:sp>
    <dsp:sp modelId="{F4221C41-051F-41FD-8A1A-039F89C5BBF8}">
      <dsp:nvSpPr>
        <dsp:cNvPr id="0" name=""/>
        <dsp:cNvSpPr/>
      </dsp:nvSpPr>
      <dsp:spPr>
        <a:xfrm>
          <a:off x="9218568" y="2875243"/>
          <a:ext cx="624704" cy="624704"/>
        </a:xfrm>
        <a:prstGeom prst="downArrow">
          <a:avLst>
            <a:gd name="adj1" fmla="val 55000"/>
            <a:gd name="adj2" fmla="val 45000"/>
          </a:avLst>
        </a:prstGeom>
        <a:solidFill>
          <a:schemeClr val="accent2">
            <a:tint val="40000"/>
            <a:alpha val="90000"/>
            <a:hueOff val="-566151"/>
            <a:satOff val="-50231"/>
            <a:lumOff val="-513"/>
            <a:alphaOff val="0"/>
          </a:schemeClr>
        </a:solidFill>
        <a:ln w="12700" cap="flat" cmpd="sng" algn="ctr">
          <a:solidFill>
            <a:schemeClr val="accent2">
              <a:tint val="40000"/>
              <a:alpha val="90000"/>
              <a:hueOff val="-566151"/>
              <a:satOff val="-50231"/>
              <a:lumOff val="-51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fr-FR" sz="2800" kern="1200"/>
        </a:p>
      </dsp:txBody>
      <dsp:txXfrm>
        <a:off x="9359126" y="2875243"/>
        <a:ext cx="343588" cy="470090"/>
      </dsp:txXfrm>
    </dsp:sp>
    <dsp:sp modelId="{6187298F-1785-4051-B181-BD2E834DE7A7}">
      <dsp:nvSpPr>
        <dsp:cNvPr id="0" name=""/>
        <dsp:cNvSpPr/>
      </dsp:nvSpPr>
      <dsp:spPr>
        <a:xfrm>
          <a:off x="9858102" y="3980489"/>
          <a:ext cx="624704" cy="624704"/>
        </a:xfrm>
        <a:prstGeom prst="downArrow">
          <a:avLst>
            <a:gd name="adj1" fmla="val 55000"/>
            <a:gd name="adj2" fmla="val 45000"/>
          </a:avLst>
        </a:prstGeom>
        <a:solidFill>
          <a:schemeClr val="accent2">
            <a:tint val="40000"/>
            <a:alpha val="90000"/>
            <a:hueOff val="-849226"/>
            <a:satOff val="-75346"/>
            <a:lumOff val="-769"/>
            <a:alphaOff val="0"/>
          </a:schemeClr>
        </a:solidFill>
        <a:ln w="12700" cap="flat" cmpd="sng" algn="ctr">
          <a:solidFill>
            <a:schemeClr val="accent2">
              <a:tint val="40000"/>
              <a:alpha val="90000"/>
              <a:hueOff val="-849226"/>
              <a:satOff val="-75346"/>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fr-FR" sz="2800" kern="1200"/>
        </a:p>
      </dsp:txBody>
      <dsp:txXfrm>
        <a:off x="9998660" y="3980489"/>
        <a:ext cx="343588" cy="4700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286AB2-BA4E-4939-A96B-AD91CA3D6350}">
      <dsp:nvSpPr>
        <dsp:cNvPr id="0" name=""/>
        <dsp:cNvSpPr/>
      </dsp:nvSpPr>
      <dsp:spPr>
        <a:xfrm>
          <a:off x="-147774" y="0"/>
          <a:ext cx="8990074" cy="1252640"/>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fr-FR" sz="3300" kern="1200" dirty="0"/>
            <a:t>De combien de classes est généralement composée le plan comptable général ?</a:t>
          </a:r>
        </a:p>
      </dsp:txBody>
      <dsp:txXfrm>
        <a:off x="-111085" y="36689"/>
        <a:ext cx="7638376" cy="1179262"/>
      </dsp:txXfrm>
    </dsp:sp>
    <dsp:sp modelId="{0E0C126D-65AC-4B55-9501-75522104BC4E}">
      <dsp:nvSpPr>
        <dsp:cNvPr id="0" name=""/>
        <dsp:cNvSpPr/>
      </dsp:nvSpPr>
      <dsp:spPr>
        <a:xfrm>
          <a:off x="645467" y="1461413"/>
          <a:ext cx="8990074" cy="1252640"/>
        </a:xfrm>
        <a:prstGeom prst="roundRect">
          <a:avLst>
            <a:gd name="adj" fmla="val 10000"/>
          </a:avLst>
        </a:prstGeom>
        <a:solidFill>
          <a:schemeClr val="accent2">
            <a:hueOff val="-727682"/>
            <a:satOff val="-41964"/>
            <a:lumOff val="431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fr-FR" sz="3300" kern="1200" dirty="0"/>
            <a:t>Combien concerne le bilan ?</a:t>
          </a:r>
        </a:p>
      </dsp:txBody>
      <dsp:txXfrm>
        <a:off x="682156" y="1498102"/>
        <a:ext cx="7309238" cy="1179262"/>
      </dsp:txXfrm>
    </dsp:sp>
    <dsp:sp modelId="{1FC9BA98-D56D-4163-BEB4-3C65E036CE89}">
      <dsp:nvSpPr>
        <dsp:cNvPr id="0" name=""/>
        <dsp:cNvSpPr/>
      </dsp:nvSpPr>
      <dsp:spPr>
        <a:xfrm>
          <a:off x="1143160" y="2922827"/>
          <a:ext cx="9581171" cy="1252640"/>
        </a:xfrm>
        <a:prstGeom prst="roundRect">
          <a:avLst>
            <a:gd name="adj" fmla="val 10000"/>
          </a:avLst>
        </a:prstGeom>
        <a:solidFill>
          <a:schemeClr val="accent2">
            <a:hueOff val="-1455363"/>
            <a:satOff val="-83928"/>
            <a:lumOff val="862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fr-FR" sz="3300" kern="1200" dirty="0"/>
            <a:t>Combien concerne le compte de résultat ?</a:t>
          </a:r>
        </a:p>
      </dsp:txBody>
      <dsp:txXfrm>
        <a:off x="1179849" y="2959516"/>
        <a:ext cx="7794645" cy="1179262"/>
      </dsp:txXfrm>
    </dsp:sp>
    <dsp:sp modelId="{05212120-7885-4C1A-8033-8B91DA96E431}">
      <dsp:nvSpPr>
        <dsp:cNvPr id="0" name=""/>
        <dsp:cNvSpPr/>
      </dsp:nvSpPr>
      <dsp:spPr>
        <a:xfrm>
          <a:off x="8028083" y="949918"/>
          <a:ext cx="814216" cy="814216"/>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fr-FR" sz="3600" kern="1200"/>
        </a:p>
      </dsp:txBody>
      <dsp:txXfrm>
        <a:off x="8211282" y="949918"/>
        <a:ext cx="447818" cy="612698"/>
      </dsp:txXfrm>
    </dsp:sp>
    <dsp:sp modelId="{2B86CAC6-39B0-433E-ABCC-9F2C68FF5CAD}">
      <dsp:nvSpPr>
        <dsp:cNvPr id="0" name=""/>
        <dsp:cNvSpPr/>
      </dsp:nvSpPr>
      <dsp:spPr>
        <a:xfrm>
          <a:off x="8821325" y="2402981"/>
          <a:ext cx="814216" cy="814216"/>
        </a:xfrm>
        <a:prstGeom prst="downArrow">
          <a:avLst>
            <a:gd name="adj1" fmla="val 55000"/>
            <a:gd name="adj2" fmla="val 45000"/>
          </a:avLst>
        </a:prstGeom>
        <a:solidFill>
          <a:schemeClr val="accent2">
            <a:tint val="40000"/>
            <a:alpha val="90000"/>
            <a:hueOff val="-849226"/>
            <a:satOff val="-75346"/>
            <a:lumOff val="-769"/>
            <a:alphaOff val="0"/>
          </a:schemeClr>
        </a:solidFill>
        <a:ln w="12700" cap="flat" cmpd="sng" algn="ctr">
          <a:solidFill>
            <a:schemeClr val="accent2">
              <a:tint val="40000"/>
              <a:alpha val="90000"/>
              <a:hueOff val="-849226"/>
              <a:satOff val="-75346"/>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fr-FR" sz="3600" kern="1200"/>
        </a:p>
      </dsp:txBody>
      <dsp:txXfrm>
        <a:off x="9004524" y="2402981"/>
        <a:ext cx="447818" cy="6126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F19007-41D9-4B97-A7ED-0FE09CEBFB29}">
      <dsp:nvSpPr>
        <dsp:cNvPr id="0" name=""/>
        <dsp:cNvSpPr/>
      </dsp:nvSpPr>
      <dsp:spPr>
        <a:xfrm>
          <a:off x="0" y="28965"/>
          <a:ext cx="9840081" cy="135065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fr-FR" sz="3400" kern="1200" dirty="0"/>
            <a:t>Q 1 : Quelle est la durée d’un exercice comptable ?</a:t>
          </a:r>
        </a:p>
      </dsp:txBody>
      <dsp:txXfrm>
        <a:off x="65934" y="94899"/>
        <a:ext cx="9708213" cy="1218787"/>
      </dsp:txXfrm>
    </dsp:sp>
    <dsp:sp modelId="{B23FF392-3107-47FC-B2AC-5F95E5695BCF}">
      <dsp:nvSpPr>
        <dsp:cNvPr id="0" name=""/>
        <dsp:cNvSpPr/>
      </dsp:nvSpPr>
      <dsp:spPr>
        <a:xfrm>
          <a:off x="0" y="1477540"/>
          <a:ext cx="9840081" cy="135065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fr-FR" sz="3400" kern="1200" dirty="0"/>
            <a:t>Q 2 : Quelle est la principale différence entre le bilan et le compte de résultat ?</a:t>
          </a:r>
        </a:p>
      </dsp:txBody>
      <dsp:txXfrm>
        <a:off x="65934" y="1543474"/>
        <a:ext cx="9708213" cy="1218787"/>
      </dsp:txXfrm>
    </dsp:sp>
    <dsp:sp modelId="{E7EE5F07-CBF8-4359-A4F9-E0D6E9ECBB02}">
      <dsp:nvSpPr>
        <dsp:cNvPr id="0" name=""/>
        <dsp:cNvSpPr/>
      </dsp:nvSpPr>
      <dsp:spPr>
        <a:xfrm>
          <a:off x="0" y="2926115"/>
          <a:ext cx="9840081" cy="135065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fr-FR" sz="3400" kern="1200" dirty="0"/>
            <a:t>: Quel est leur principal point commun ? Quel lien les unit ? (Bilan / CR)</a:t>
          </a:r>
        </a:p>
      </dsp:txBody>
      <dsp:txXfrm>
        <a:off x="65934" y="2992049"/>
        <a:ext cx="9708213" cy="121878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A3DAA9-DB59-4706-A27B-466FAABE7F09}">
      <dsp:nvSpPr>
        <dsp:cNvPr id="0" name=""/>
        <dsp:cNvSpPr/>
      </dsp:nvSpPr>
      <dsp:spPr>
        <a:xfrm>
          <a:off x="932813" y="1116595"/>
          <a:ext cx="1080210" cy="10802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FEC6EC-C75B-4D5F-BF78-3A7B6AC37F8F}">
      <dsp:nvSpPr>
        <dsp:cNvPr id="0" name=""/>
        <dsp:cNvSpPr/>
      </dsp:nvSpPr>
      <dsp:spPr>
        <a:xfrm>
          <a:off x="272684" y="2514742"/>
          <a:ext cx="240046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90000"/>
            </a:lnSpc>
            <a:spcBef>
              <a:spcPct val="0"/>
            </a:spcBef>
            <a:spcAft>
              <a:spcPct val="35000"/>
            </a:spcAft>
            <a:buNone/>
          </a:pPr>
          <a:endParaRPr lang="en-US" sz="3600" kern="1200" dirty="0"/>
        </a:p>
      </dsp:txBody>
      <dsp:txXfrm>
        <a:off x="272684" y="2514742"/>
        <a:ext cx="2400467" cy="720000"/>
      </dsp:txXfrm>
    </dsp:sp>
    <dsp:sp modelId="{36F343E4-A148-4814-80CB-87DAED571C9A}">
      <dsp:nvSpPr>
        <dsp:cNvPr id="0" name=""/>
        <dsp:cNvSpPr/>
      </dsp:nvSpPr>
      <dsp:spPr>
        <a:xfrm>
          <a:off x="3753363" y="1116595"/>
          <a:ext cx="1080210" cy="10802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798EB1-FC90-4757-94C7-B1833DF5E1FC}">
      <dsp:nvSpPr>
        <dsp:cNvPr id="0" name=""/>
        <dsp:cNvSpPr/>
      </dsp:nvSpPr>
      <dsp:spPr>
        <a:xfrm>
          <a:off x="3093234" y="2514742"/>
          <a:ext cx="240046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90000"/>
            </a:lnSpc>
            <a:spcBef>
              <a:spcPct val="0"/>
            </a:spcBef>
            <a:spcAft>
              <a:spcPct val="35000"/>
            </a:spcAft>
            <a:buNone/>
          </a:pPr>
          <a:endParaRPr lang="en-US" sz="3600" kern="1200" dirty="0"/>
        </a:p>
      </dsp:txBody>
      <dsp:txXfrm>
        <a:off x="3093234" y="2514742"/>
        <a:ext cx="2400467" cy="720000"/>
      </dsp:txXfrm>
    </dsp:sp>
    <dsp:sp modelId="{136A9F91-6A6F-46F9-A4ED-5B62981E95F3}">
      <dsp:nvSpPr>
        <dsp:cNvPr id="0" name=""/>
        <dsp:cNvSpPr/>
      </dsp:nvSpPr>
      <dsp:spPr>
        <a:xfrm>
          <a:off x="6573913" y="1116595"/>
          <a:ext cx="1080210" cy="10802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CCD5E3F-7E15-4586-8B11-C0DA7E26115D}">
      <dsp:nvSpPr>
        <dsp:cNvPr id="0" name=""/>
        <dsp:cNvSpPr/>
      </dsp:nvSpPr>
      <dsp:spPr>
        <a:xfrm>
          <a:off x="5913784" y="2514742"/>
          <a:ext cx="240046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90000"/>
            </a:lnSpc>
            <a:spcBef>
              <a:spcPct val="0"/>
            </a:spcBef>
            <a:spcAft>
              <a:spcPct val="35000"/>
            </a:spcAft>
            <a:buNone/>
          </a:pPr>
          <a:endParaRPr lang="en-US" sz="3600" kern="1200" dirty="0"/>
        </a:p>
      </dsp:txBody>
      <dsp:txXfrm>
        <a:off x="5913784" y="2514742"/>
        <a:ext cx="2400467" cy="720000"/>
      </dsp:txXfrm>
    </dsp:sp>
    <dsp:sp modelId="{D102E7BA-8D0D-4BD4-AC01-79C635F42917}">
      <dsp:nvSpPr>
        <dsp:cNvPr id="0" name=""/>
        <dsp:cNvSpPr/>
      </dsp:nvSpPr>
      <dsp:spPr>
        <a:xfrm>
          <a:off x="9394462" y="1116595"/>
          <a:ext cx="1080210" cy="10802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EBB2D3-B429-4C59-8094-FAFC3A6734BC}">
      <dsp:nvSpPr>
        <dsp:cNvPr id="0" name=""/>
        <dsp:cNvSpPr/>
      </dsp:nvSpPr>
      <dsp:spPr>
        <a:xfrm>
          <a:off x="8734334" y="2514742"/>
          <a:ext cx="240046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90000"/>
            </a:lnSpc>
            <a:spcBef>
              <a:spcPct val="0"/>
            </a:spcBef>
            <a:spcAft>
              <a:spcPct val="35000"/>
            </a:spcAft>
            <a:buNone/>
          </a:pPr>
          <a:endParaRPr lang="en-US" sz="3600" kern="1200" dirty="0"/>
        </a:p>
      </dsp:txBody>
      <dsp:txXfrm>
        <a:off x="8734334" y="2514742"/>
        <a:ext cx="2400467" cy="720000"/>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74E31-4102-4DAB-AA30-205A8BC854D4}" type="datetimeFigureOut">
              <a:rPr lang="fr-FR" smtClean="0"/>
              <a:t>05/05/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99E81F-EEE6-4E3A-AE16-C0BE10FF1680}" type="slidenum">
              <a:rPr lang="fr-FR" smtClean="0"/>
              <a:t>‹N°›</a:t>
            </a:fld>
            <a:endParaRPr lang="fr-FR"/>
          </a:p>
        </p:txBody>
      </p:sp>
    </p:spTree>
    <p:extLst>
      <p:ext uri="{BB962C8B-B14F-4D97-AF65-F5344CB8AC3E}">
        <p14:creationId xmlns:p14="http://schemas.microsoft.com/office/powerpoint/2010/main" val="3265402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a:t>
            </a:fld>
            <a:endParaRPr lang="fr-FR" dirty="0"/>
          </a:p>
        </p:txBody>
      </p:sp>
    </p:spTree>
    <p:extLst>
      <p:ext uri="{BB962C8B-B14F-4D97-AF65-F5344CB8AC3E}">
        <p14:creationId xmlns:p14="http://schemas.microsoft.com/office/powerpoint/2010/main" val="2466770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2</a:t>
            </a:fld>
            <a:endParaRPr lang="fr-FR" dirty="0"/>
          </a:p>
        </p:txBody>
      </p:sp>
    </p:spTree>
    <p:extLst>
      <p:ext uri="{BB962C8B-B14F-4D97-AF65-F5344CB8AC3E}">
        <p14:creationId xmlns:p14="http://schemas.microsoft.com/office/powerpoint/2010/main" val="3393164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0746DE6-3336-457D-A091-FA20AC1C536E}" type="slidenum">
              <a:rPr lang="en-US" smtClean="0"/>
              <a:t>13</a:t>
            </a:fld>
            <a:endParaRPr lang="en-US"/>
          </a:p>
        </p:txBody>
      </p:sp>
    </p:spTree>
    <p:extLst>
      <p:ext uri="{BB962C8B-B14F-4D97-AF65-F5344CB8AC3E}">
        <p14:creationId xmlns:p14="http://schemas.microsoft.com/office/powerpoint/2010/main" val="192740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0746DE6-3336-457D-A091-FA20AC1C536E}" type="slidenum">
              <a:rPr lang="en-US" smtClean="0"/>
              <a:t>14</a:t>
            </a:fld>
            <a:endParaRPr lang="en-US"/>
          </a:p>
        </p:txBody>
      </p:sp>
    </p:spTree>
    <p:extLst>
      <p:ext uri="{BB962C8B-B14F-4D97-AF65-F5344CB8AC3E}">
        <p14:creationId xmlns:p14="http://schemas.microsoft.com/office/powerpoint/2010/main" val="3281312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5</a:t>
            </a:fld>
            <a:endParaRPr lang="fr-FR" dirty="0"/>
          </a:p>
        </p:txBody>
      </p:sp>
    </p:spTree>
    <p:extLst>
      <p:ext uri="{BB962C8B-B14F-4D97-AF65-F5344CB8AC3E}">
        <p14:creationId xmlns:p14="http://schemas.microsoft.com/office/powerpoint/2010/main" val="2883336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6</a:t>
            </a:fld>
            <a:endParaRPr lang="fr-FR" dirty="0"/>
          </a:p>
        </p:txBody>
      </p:sp>
    </p:spTree>
    <p:extLst>
      <p:ext uri="{BB962C8B-B14F-4D97-AF65-F5344CB8AC3E}">
        <p14:creationId xmlns:p14="http://schemas.microsoft.com/office/powerpoint/2010/main" val="4123454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out le monde répond</a:t>
            </a:r>
          </a:p>
          <a:p>
            <a:pPr marL="228600" indent="-228600">
              <a:buAutoNum type="arabicParenR"/>
            </a:pPr>
            <a:r>
              <a:rPr lang="fr-FR" dirty="0"/>
              <a:t>Aucun piège</a:t>
            </a:r>
          </a:p>
          <a:p>
            <a:pPr marL="228600" indent="-228600">
              <a:buAutoNum type="arabicParenR"/>
            </a:pPr>
            <a:r>
              <a:rPr lang="fr-FR" dirty="0"/>
              <a:t>2Attention stocké ou non stocké</a:t>
            </a:r>
          </a:p>
          <a:p>
            <a:pPr marL="228600" indent="-228600">
              <a:buAutoNum type="arabicParenR"/>
            </a:pPr>
            <a:r>
              <a:rPr lang="fr-FR" dirty="0"/>
              <a:t>Attention 2183/6063/ ou pourquoi pas 607</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396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8</a:t>
            </a:fld>
            <a:endParaRPr lang="fr-FR" dirty="0"/>
          </a:p>
        </p:txBody>
      </p:sp>
    </p:spTree>
    <p:extLst>
      <p:ext uri="{BB962C8B-B14F-4D97-AF65-F5344CB8AC3E}">
        <p14:creationId xmlns:p14="http://schemas.microsoft.com/office/powerpoint/2010/main" val="906366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9</a:t>
            </a:fld>
            <a:endParaRPr lang="fr-FR" dirty="0"/>
          </a:p>
        </p:txBody>
      </p:sp>
    </p:spTree>
    <p:extLst>
      <p:ext uri="{BB962C8B-B14F-4D97-AF65-F5344CB8AC3E}">
        <p14:creationId xmlns:p14="http://schemas.microsoft.com/office/powerpoint/2010/main" val="1975713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out le monde répond</a:t>
            </a:r>
          </a:p>
          <a:p>
            <a:pPr marL="228600" indent="-228600">
              <a:buAutoNum type="arabicParenR"/>
            </a:pPr>
            <a:r>
              <a:rPr lang="fr-FR" dirty="0"/>
              <a:t>Aucun piège</a:t>
            </a:r>
          </a:p>
          <a:p>
            <a:pPr marL="228600" indent="-228600">
              <a:buAutoNum type="arabicParenR"/>
            </a:pPr>
            <a:r>
              <a:rPr lang="fr-FR" dirty="0"/>
              <a:t>2Attention stocké ou non stocké</a:t>
            </a:r>
          </a:p>
          <a:p>
            <a:pPr marL="228600" indent="-228600">
              <a:buAutoNum type="arabicParenR"/>
            </a:pPr>
            <a:r>
              <a:rPr lang="fr-FR" dirty="0"/>
              <a:t>Attention 2183/6063/ ou pourquoi pas 607</a:t>
            </a:r>
          </a:p>
        </p:txBody>
      </p:sp>
      <p:sp>
        <p:nvSpPr>
          <p:cNvPr id="4" name="Espace réservé du numéro de diapositive 3"/>
          <p:cNvSpPr>
            <a:spLocks noGrp="1"/>
          </p:cNvSpPr>
          <p:nvPr>
            <p:ph type="sldNum" sz="quarter" idx="5"/>
          </p:nvPr>
        </p:nvSpPr>
        <p:spPr/>
        <p:txBody>
          <a:bodyPr/>
          <a:lstStyle/>
          <a:p>
            <a:fld id="{E0746DE6-3336-457D-A091-FA20AC1C536E}" type="slidenum">
              <a:rPr lang="en-US" smtClean="0"/>
              <a:t>21</a:t>
            </a:fld>
            <a:endParaRPr lang="en-US"/>
          </a:p>
        </p:txBody>
      </p:sp>
    </p:spTree>
    <p:extLst>
      <p:ext uri="{BB962C8B-B14F-4D97-AF65-F5344CB8AC3E}">
        <p14:creationId xmlns:p14="http://schemas.microsoft.com/office/powerpoint/2010/main" val="30791085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24</a:t>
            </a:fld>
            <a:endParaRPr lang="fr-FR" dirty="0"/>
          </a:p>
        </p:txBody>
      </p:sp>
    </p:spTree>
    <p:extLst>
      <p:ext uri="{BB962C8B-B14F-4D97-AF65-F5344CB8AC3E}">
        <p14:creationId xmlns:p14="http://schemas.microsoft.com/office/powerpoint/2010/main" val="1597839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a:t>
            </a:fld>
            <a:endParaRPr lang="fr-FR" dirty="0"/>
          </a:p>
        </p:txBody>
      </p:sp>
    </p:spTree>
    <p:extLst>
      <p:ext uri="{BB962C8B-B14F-4D97-AF65-F5344CB8AC3E}">
        <p14:creationId xmlns:p14="http://schemas.microsoft.com/office/powerpoint/2010/main" val="1302720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026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0023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443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6734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7568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6942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8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75418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4</a:t>
            </a:fld>
            <a:endParaRPr lang="fr-FR" dirty="0"/>
          </a:p>
        </p:txBody>
      </p:sp>
    </p:spTree>
    <p:extLst>
      <p:ext uri="{BB962C8B-B14F-4D97-AF65-F5344CB8AC3E}">
        <p14:creationId xmlns:p14="http://schemas.microsoft.com/office/powerpoint/2010/main" val="2403824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5</a:t>
            </a:fld>
            <a:endParaRPr lang="fr-FR" dirty="0"/>
          </a:p>
        </p:txBody>
      </p:sp>
    </p:spTree>
    <p:extLst>
      <p:ext uri="{BB962C8B-B14F-4D97-AF65-F5344CB8AC3E}">
        <p14:creationId xmlns:p14="http://schemas.microsoft.com/office/powerpoint/2010/main" val="1396014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6</a:t>
            </a:fld>
            <a:endParaRPr lang="fr-FR" dirty="0"/>
          </a:p>
        </p:txBody>
      </p:sp>
    </p:spTree>
    <p:extLst>
      <p:ext uri="{BB962C8B-B14F-4D97-AF65-F5344CB8AC3E}">
        <p14:creationId xmlns:p14="http://schemas.microsoft.com/office/powerpoint/2010/main" val="3759942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lle différence fondamentale entre IAS et IFRS =&gt; lien avec juste valeur =&gt; financier a la place de comptable</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557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8</a:t>
            </a:fld>
            <a:endParaRPr lang="fr-FR" dirty="0"/>
          </a:p>
        </p:txBody>
      </p:sp>
    </p:spTree>
    <p:extLst>
      <p:ext uri="{BB962C8B-B14F-4D97-AF65-F5344CB8AC3E}">
        <p14:creationId xmlns:p14="http://schemas.microsoft.com/office/powerpoint/2010/main" val="23689844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9</a:t>
            </a:fld>
            <a:endParaRPr lang="fr-FR" dirty="0"/>
          </a:p>
        </p:txBody>
      </p:sp>
    </p:spTree>
    <p:extLst>
      <p:ext uri="{BB962C8B-B14F-4D97-AF65-F5344CB8AC3E}">
        <p14:creationId xmlns:p14="http://schemas.microsoft.com/office/powerpoint/2010/main" val="928489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0</a:t>
            </a:fld>
            <a:endParaRPr lang="fr-FR" dirty="0"/>
          </a:p>
        </p:txBody>
      </p:sp>
    </p:spTree>
    <p:extLst>
      <p:ext uri="{BB962C8B-B14F-4D97-AF65-F5344CB8AC3E}">
        <p14:creationId xmlns:p14="http://schemas.microsoft.com/office/powerpoint/2010/main" val="3735400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1</a:t>
            </a:fld>
            <a:endParaRPr lang="fr-FR" dirty="0"/>
          </a:p>
        </p:txBody>
      </p:sp>
    </p:spTree>
    <p:extLst>
      <p:ext uri="{BB962C8B-B14F-4D97-AF65-F5344CB8AC3E}">
        <p14:creationId xmlns:p14="http://schemas.microsoft.com/office/powerpoint/2010/main" val="3712521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7BD57D-84CD-4DA6-ACCF-8CEC063D82AC}"/>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D19402C-4986-4F03-B149-B59478CBC5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316A17A5-4404-44D9-B645-2177629EB8B7}"/>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5" name="Espace réservé du pied de page 4">
            <a:extLst>
              <a:ext uri="{FF2B5EF4-FFF2-40B4-BE49-F238E27FC236}">
                <a16:creationId xmlns:a16="http://schemas.microsoft.com/office/drawing/2014/main" id="{8036A295-F235-411B-8653-78D5CFEBA5D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4D0148C-2377-437A-9B96-C1D01D45C6C1}"/>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992417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CF77D9-A2E2-47AF-9DA6-3E88E50EDD37}"/>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BF1DE80-A284-4C12-8998-96E09ECD2B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39B5A0B-FBB5-4756-860F-875AB0CB7452}"/>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5" name="Espace réservé du pied de page 4">
            <a:extLst>
              <a:ext uri="{FF2B5EF4-FFF2-40B4-BE49-F238E27FC236}">
                <a16:creationId xmlns:a16="http://schemas.microsoft.com/office/drawing/2014/main" id="{442CC808-89A4-47E4-B295-3F9116F8297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D55BD20-72DC-487C-8B40-787775EBCBD7}"/>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925480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2353EA2-D366-4F02-B08A-5FEED95BD9E3}"/>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94DA6CD5-251E-4DFA-B380-5EB21302946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85B917B-2B60-4988-B84F-D3AFCB1DD9D0}"/>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5" name="Espace réservé du pied de page 4">
            <a:extLst>
              <a:ext uri="{FF2B5EF4-FFF2-40B4-BE49-F238E27FC236}">
                <a16:creationId xmlns:a16="http://schemas.microsoft.com/office/drawing/2014/main" id="{9FB53DFA-3E34-4A01-A1E8-6D7B7445732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8A9D7E8-2346-4B4B-9CF9-1C67D6668CF8}"/>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5622623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fr-FR"/>
              <a:t>Modifiez le style du titr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1</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N°›</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05033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ncho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1227660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fr-FR"/>
              <a:t>Modifiez le style du titre</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8A87A34-81AB-432B-8DAE-1953F412C126}" type="datetimeFigureOut">
              <a:rPr lang="en-US" dirty="0"/>
              <a:t>5/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17927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fr-FR"/>
              <a:t>Modifiez le style du titre</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5/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90103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fr-FR"/>
              <a:t>Modifiez le style du titr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1447191" y="2824269"/>
            <a:ext cx="4645152" cy="26444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412362" y="2821491"/>
            <a:ext cx="4645152" cy="263737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5/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888894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5/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82313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5/5/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2481996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fr-FR"/>
              <a:t>Modifiez le style du titre</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48A87A34-81AB-432B-8DAE-1953F412C126}" type="datetimeFigureOut">
              <a:rPr lang="en-US" dirty="0"/>
              <a:t>5/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0619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D533BA-64DD-46E7-AC37-8284A1B923A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5FA018E-EDA2-4960-8996-9D0F0B37136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1E258E7-ED34-4740-9A51-3EF63654899D}"/>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5" name="Espace réservé du pied de page 4">
            <a:extLst>
              <a:ext uri="{FF2B5EF4-FFF2-40B4-BE49-F238E27FC236}">
                <a16:creationId xmlns:a16="http://schemas.microsoft.com/office/drawing/2014/main" id="{FE4DA7DE-70E6-4FC4-AEB8-2B4A9102889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74F055B-A12A-40C8-913E-87AC2D74D609}"/>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694264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pPr/>
              <a:t>5/5/2021</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26616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04371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fr-FR"/>
              <a:t>Modifiez le style du titre</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66150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993914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3455445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3408427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127795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1163619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42476182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764242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A53301-5DB9-4753-ABD4-856DD5147A9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86065A32-834F-432D-A0D3-7ECBC848C5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616BCDE-E203-48ED-B45F-9D93DC3EF895}"/>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5" name="Espace réservé du pied de page 4">
            <a:extLst>
              <a:ext uri="{FF2B5EF4-FFF2-40B4-BE49-F238E27FC236}">
                <a16:creationId xmlns:a16="http://schemas.microsoft.com/office/drawing/2014/main" id="{944B27C3-8E90-44EF-B2A0-1D4A9700A9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5169281-95B4-43D4-BD98-2009AB077C07}"/>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686540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6220701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8929496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9750211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05/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5231673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3EE1FC-395B-4804-BCED-98B869CA372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D30819D-33A8-4726-B505-831ADB90F9E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C727D8D7-37DF-475A-8F8B-107336CE7F12}"/>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626DA209-39AA-44B8-BA06-71668A7279E1}"/>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6" name="Espace réservé du pied de page 5">
            <a:extLst>
              <a:ext uri="{FF2B5EF4-FFF2-40B4-BE49-F238E27FC236}">
                <a16:creationId xmlns:a16="http://schemas.microsoft.com/office/drawing/2014/main" id="{3E701A22-5ACC-4505-9A5B-EFFCF1BEE09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A5BF9EC-FDAE-4527-A964-C32D4D885604}"/>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672459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377DA-C3AC-4A42-9312-85C3B28A1D8D}"/>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8EECFD34-CCC4-4C10-95D2-1DCC3D8755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4D248D42-AEE2-48BB-B8A6-37B3BF1EC785}"/>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EFF54CA6-B4B3-4EBE-BAA9-8A083AD04B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CB67F1B9-3210-4603-A593-82AA14779770}"/>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A4FE2936-F0AC-4E86-9BB9-6C88937F1738}"/>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8" name="Espace réservé du pied de page 7">
            <a:extLst>
              <a:ext uri="{FF2B5EF4-FFF2-40B4-BE49-F238E27FC236}">
                <a16:creationId xmlns:a16="http://schemas.microsoft.com/office/drawing/2014/main" id="{D4B4DA8C-4CAE-47BB-B5D8-D3CD8CA087DC}"/>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8F733564-54DF-4A81-A1E0-E16BDFCCC383}"/>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985600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106E18-40BE-4CE6-A1DE-51E2FCB71EA4}"/>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C9E90AC-A901-4B3B-8F1A-62F80383E911}"/>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4" name="Espace réservé du pied de page 3">
            <a:extLst>
              <a:ext uri="{FF2B5EF4-FFF2-40B4-BE49-F238E27FC236}">
                <a16:creationId xmlns:a16="http://schemas.microsoft.com/office/drawing/2014/main" id="{6B69960F-910E-441F-9234-4EFA03174979}"/>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6DEAD386-BAAD-4887-AEC1-ACEC7AC75072}"/>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070842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EA3A60B-5261-4319-9606-C7A19FE79FFD}"/>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3" name="Espace réservé du pied de page 2">
            <a:extLst>
              <a:ext uri="{FF2B5EF4-FFF2-40B4-BE49-F238E27FC236}">
                <a16:creationId xmlns:a16="http://schemas.microsoft.com/office/drawing/2014/main" id="{7CD7E47D-E0D5-4EA3-A174-877281D1E4A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BBA8F0E-BF11-4E0E-B6B3-0C4D3ED9ADC8}"/>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409423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D5B282-2CDC-43BA-91BF-BB825DDC357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B2B1462-82C2-41F9-B928-24CD0E058B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8E6443F-D9C8-4B0A-A85E-AFB98C1784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58546B2-B4AD-4632-A7F6-E278F595C80D}"/>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6" name="Espace réservé du pied de page 5">
            <a:extLst>
              <a:ext uri="{FF2B5EF4-FFF2-40B4-BE49-F238E27FC236}">
                <a16:creationId xmlns:a16="http://schemas.microsoft.com/office/drawing/2014/main" id="{F95E8C30-5617-4C3D-86F5-1BB6370D3806}"/>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698214D-67A4-4095-A830-2541FC31FF56}"/>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731998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9969A8-DB1E-4329-86AA-AAC523FDA27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47A97373-2753-4E91-A499-97DCFA713F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4E0A5C63-7589-47D3-A6A8-2BAA1AA21C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6658AF3C-8B47-4456-B292-94827E8D0061}"/>
              </a:ext>
            </a:extLst>
          </p:cNvPr>
          <p:cNvSpPr>
            <a:spLocks noGrp="1"/>
          </p:cNvSpPr>
          <p:nvPr>
            <p:ph type="dt" sz="half" idx="10"/>
          </p:nvPr>
        </p:nvSpPr>
        <p:spPr/>
        <p:txBody>
          <a:bodyPr/>
          <a:lstStyle/>
          <a:p>
            <a:fld id="{B4AAC662-8F7E-46FF-BF45-54D2733F0C8C}" type="datetimeFigureOut">
              <a:rPr lang="fr-FR" smtClean="0"/>
              <a:t>05/05/2021</a:t>
            </a:fld>
            <a:endParaRPr lang="fr-FR"/>
          </a:p>
        </p:txBody>
      </p:sp>
      <p:sp>
        <p:nvSpPr>
          <p:cNvPr id="6" name="Espace réservé du pied de page 5">
            <a:extLst>
              <a:ext uri="{FF2B5EF4-FFF2-40B4-BE49-F238E27FC236}">
                <a16:creationId xmlns:a16="http://schemas.microsoft.com/office/drawing/2014/main" id="{CA94149C-1965-48BE-A21B-231EFD4799E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75B3F0F-B380-4E1B-AC33-1610717B8B29}"/>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8355383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B24DAE3-D939-4C4D-88F9-662ED8E02C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0D21944-0B8F-4C3A-9BCA-D8EF26A83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B3C1B60-F7FD-45E2-AFE6-969B7E482D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AAC662-8F7E-46FF-BF45-54D2733F0C8C}" type="datetimeFigureOut">
              <a:rPr lang="fr-FR" smtClean="0"/>
              <a:t>05/05/2021</a:t>
            </a:fld>
            <a:endParaRPr lang="fr-FR"/>
          </a:p>
        </p:txBody>
      </p:sp>
      <p:sp>
        <p:nvSpPr>
          <p:cNvPr id="5" name="Espace réservé du pied de page 4">
            <a:extLst>
              <a:ext uri="{FF2B5EF4-FFF2-40B4-BE49-F238E27FC236}">
                <a16:creationId xmlns:a16="http://schemas.microsoft.com/office/drawing/2014/main" id="{666FD234-03EA-4C46-8B22-CFC6DD2300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210ED5CD-B777-437E-B0F8-CFA32F5B35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0A9C33-773E-4B08-A2CE-4F0FB0936678}" type="slidenum">
              <a:rPr lang="fr-FR" smtClean="0"/>
              <a:t>‹N°›</a:t>
            </a:fld>
            <a:endParaRPr lang="fr-FR"/>
          </a:p>
        </p:txBody>
      </p:sp>
    </p:spTree>
    <p:extLst>
      <p:ext uri="{BB962C8B-B14F-4D97-AF65-F5344CB8AC3E}">
        <p14:creationId xmlns:p14="http://schemas.microsoft.com/office/powerpoint/2010/main" val="39818148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5/5/2021</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N°›</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15130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Cliquez pour modifier le style du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302334-7E8B-4320-A1E2-4B05AC15A670}" type="datetimeFigureOut">
              <a:rPr lang="fr-FR" smtClean="0"/>
              <a:pPr/>
              <a:t>05/05/2021</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8582E2-60D7-40E7-AECB-CED9E7320F8D}" type="slidenum">
              <a:rPr lang="fr-FR" smtClean="0"/>
              <a:pPr/>
              <a:t>‹N°›</a:t>
            </a:fld>
            <a:endParaRPr lang="fr-FR"/>
          </a:p>
        </p:txBody>
      </p:sp>
    </p:spTree>
    <p:extLst>
      <p:ext uri="{BB962C8B-B14F-4D97-AF65-F5344CB8AC3E}">
        <p14:creationId xmlns:p14="http://schemas.microsoft.com/office/powerpoint/2010/main" val="17772646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7.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6.jpeg"/></Relationships>
</file>

<file path=ppt/slides/_rels/slide13.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8.jpeg"/><Relationship Id="rId7" Type="http://schemas.openxmlformats.org/officeDocument/2006/relationships/diagramColors" Target="../diagrams/colors5.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hyperlink" Target="https://fr.wikipedia.org/wiki/R%C3%A9glementation" TargetMode="External"/><Relationship Id="rId7" Type="http://schemas.openxmlformats.org/officeDocument/2006/relationships/hyperlink" Target="https://fr.wikipedia.org/wiki/Entreprise"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fr.wikipedia.org/wiki/Autorit%C3%A9_des_normes_comptables" TargetMode="External"/><Relationship Id="rId5" Type="http://schemas.openxmlformats.org/officeDocument/2006/relationships/hyperlink" Target="https://fr.wikipedia.org/wiki/Comptabilit%C3%A9" TargetMode="External"/><Relationship Id="rId4" Type="http://schemas.openxmlformats.org/officeDocument/2006/relationships/hyperlink" Target="https://fr.wikipedia.org/wiki/Norme" TargetMode="Externa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6.jpeg"/></Relationships>
</file>

<file path=ppt/slides/_rels/slide1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9.jpe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6.jpe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hyperlink" Target="https://espritscience.blogspot.com/2008/01/du-rapport-des-temps.html" TargetMode="External"/><Relationship Id="rId4" Type="http://schemas.openxmlformats.org/officeDocument/2006/relationships/image" Target="../media/image36.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xml"/><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4.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6.jpe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09AF2F-022D-42E7-9EE8-B11BCE898DAB}"/>
              </a:ext>
            </a:extLst>
          </p:cNvPr>
          <p:cNvSpPr>
            <a:spLocks noGrp="1"/>
          </p:cNvSpPr>
          <p:nvPr>
            <p:ph type="ctrTitle"/>
          </p:nvPr>
        </p:nvSpPr>
        <p:spPr>
          <a:xfrm>
            <a:off x="7464614" y="1783959"/>
            <a:ext cx="4087306" cy="2889114"/>
          </a:xfrm>
        </p:spPr>
        <p:txBody>
          <a:bodyPr anchor="b">
            <a:normAutofit fontScale="90000"/>
          </a:bodyPr>
          <a:lstStyle/>
          <a:p>
            <a:pPr algn="l"/>
            <a:r>
              <a:rPr lang="fr-FR" sz="5400" dirty="0">
                <a:latin typeface="Arial" panose="020B0604020202020204" pitchFamily="34" charset="0"/>
                <a:cs typeface="Arial" panose="020B0604020202020204" pitchFamily="34" charset="0"/>
              </a:rPr>
              <a:t>Université de Montpellier</a:t>
            </a:r>
            <a:br>
              <a:rPr lang="fr-FR" sz="5400" dirty="0"/>
            </a:br>
            <a:endParaRPr lang="fr-FR" sz="5400" dirty="0"/>
          </a:p>
        </p:txBody>
      </p:sp>
      <p:sp>
        <p:nvSpPr>
          <p:cNvPr id="3" name="Sous-titre 2">
            <a:extLst>
              <a:ext uri="{FF2B5EF4-FFF2-40B4-BE49-F238E27FC236}">
                <a16:creationId xmlns:a16="http://schemas.microsoft.com/office/drawing/2014/main" id="{21349F9F-31B4-41DC-B4DB-C097467B5266}"/>
              </a:ext>
            </a:extLst>
          </p:cNvPr>
          <p:cNvSpPr>
            <a:spLocks noGrp="1"/>
          </p:cNvSpPr>
          <p:nvPr>
            <p:ph type="subTitle" idx="1"/>
          </p:nvPr>
        </p:nvSpPr>
        <p:spPr>
          <a:xfrm>
            <a:off x="7464612" y="4750893"/>
            <a:ext cx="4489965" cy="1147863"/>
          </a:xfrm>
        </p:spPr>
        <p:txBody>
          <a:bodyPr anchor="t">
            <a:normAutofit fontScale="85000" lnSpcReduction="10000"/>
          </a:bodyPr>
          <a:lstStyle/>
          <a:p>
            <a:pPr algn="l"/>
            <a:endParaRPr lang="fr-FR" sz="2000" dirty="0"/>
          </a:p>
          <a:p>
            <a:pPr algn="l"/>
            <a:r>
              <a:rPr lang="fr-FR" sz="4000" dirty="0">
                <a:latin typeface="Arial" panose="020B0604020202020204" pitchFamily="34" charset="0"/>
                <a:cs typeface="Arial" panose="020B0604020202020204" pitchFamily="34" charset="0"/>
              </a:rPr>
              <a:t>Cours de comptabilité</a:t>
            </a:r>
          </a:p>
        </p:txBody>
      </p:sp>
      <p:sp>
        <p:nvSpPr>
          <p:cNvPr id="9" name="Freeform: Shape 8">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Bibliothèque publique floue abstraite avec des étagères à livres">
            <a:extLst>
              <a:ext uri="{FF2B5EF4-FFF2-40B4-BE49-F238E27FC236}">
                <a16:creationId xmlns:a16="http://schemas.microsoft.com/office/drawing/2014/main" id="{7BB6D41E-7376-4805-B0B6-C72AFA381B66}"/>
              </a:ext>
            </a:extLst>
          </p:cNvPr>
          <p:cNvPicPr>
            <a:picLocks noChangeAspect="1"/>
          </p:cNvPicPr>
          <p:nvPr/>
        </p:nvPicPr>
        <p:blipFill rotWithShape="1">
          <a:blip r:embed="rId3"/>
          <a:srcRect l="4625" r="26964"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84863915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88629" y="4760132"/>
            <a:ext cx="8873434" cy="1777829"/>
          </a:xfrm>
          <a:prstGeom prst="ellipse">
            <a:avLst/>
          </a:prstGeom>
        </p:spPr>
        <p:txBody>
          <a:bodyPr vert="horz" lIns="91440" tIns="45720" rIns="91440" bIns="45720" rtlCol="0" anchor="ctr">
            <a:normAutofit fontScale="90000"/>
          </a:bodyPr>
          <a:lstStyle/>
          <a:p>
            <a:pPr algn="r"/>
            <a:r>
              <a:rPr lang="en-US" sz="4000" dirty="0" err="1">
                <a:latin typeface="Arial" panose="020B0604020202020204" pitchFamily="34" charset="0"/>
                <a:cs typeface="Arial" panose="020B0604020202020204" pitchFamily="34" charset="0"/>
              </a:rPr>
              <a:t>Comptabilité</a:t>
            </a:r>
            <a:r>
              <a:rPr lang="en-US" sz="4000" dirty="0">
                <a:latin typeface="Arial" panose="020B0604020202020204" pitchFamily="34" charset="0"/>
                <a:cs typeface="Arial" panose="020B0604020202020204" pitchFamily="34" charset="0"/>
              </a:rPr>
              <a:t> – Les </a:t>
            </a:r>
            <a:r>
              <a:rPr lang="en-US" sz="4000" dirty="0" err="1">
                <a:latin typeface="Arial" panose="020B0604020202020204" pitchFamily="34" charset="0"/>
                <a:cs typeface="Arial" panose="020B0604020202020204" pitchFamily="34" charset="0"/>
              </a:rPr>
              <a:t>acteurs</a:t>
            </a:r>
            <a:br>
              <a:rPr lang="en-US" sz="2500" dirty="0"/>
            </a:br>
            <a:br>
              <a:rPr lang="en-US" sz="2500" dirty="0"/>
            </a:br>
            <a:endParaRPr lang="en-US" sz="2500" dirty="0"/>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0" y="287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967480954"/>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8537B233-9CDD-4A90-AABB-A8963DEE4F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153400" y="818457"/>
            <a:ext cx="3322317" cy="2975876"/>
          </a:xfrm>
          <a:prstGeom prst="ellipse">
            <a:avLst/>
          </a:prstGeom>
        </p:spPr>
        <p:txBody>
          <a:bodyPr vert="horz" lIns="91440" tIns="45720" rIns="91440" bIns="45720" rtlCol="0" anchor="b">
            <a:normAutofit/>
          </a:bodyPr>
          <a:lstStyle/>
          <a:p>
            <a:br>
              <a:rPr lang="en-US" sz="3100" kern="1200" dirty="0">
                <a:solidFill>
                  <a:schemeClr val="tx1"/>
                </a:solidFill>
                <a:latin typeface="+mj-lt"/>
                <a:ea typeface="+mj-ea"/>
                <a:cs typeface="+mj-cs"/>
              </a:rPr>
            </a:br>
            <a:endParaRPr lang="en-US" sz="3100" kern="1200" dirty="0">
              <a:solidFill>
                <a:schemeClr val="tx1"/>
              </a:solidFill>
              <a:latin typeface="+mj-lt"/>
              <a:ea typeface="+mj-ea"/>
              <a:cs typeface="+mj-cs"/>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t="21540" b="21540"/>
          <a:stretch/>
        </p:blipFill>
        <p:spPr>
          <a:xfrm>
            <a:off x="716280" y="2215808"/>
            <a:ext cx="5401937" cy="2036367"/>
          </a:xfrm>
          <a:prstGeom prst="rect">
            <a:avLst/>
          </a:prstGeom>
        </p:spPr>
      </p:pic>
      <p:cxnSp>
        <p:nvCxnSpPr>
          <p:cNvPr id="79" name="Straight Connector 78">
            <a:extLst>
              <a:ext uri="{FF2B5EF4-FFF2-40B4-BE49-F238E27FC236}">
                <a16:creationId xmlns:a16="http://schemas.microsoft.com/office/drawing/2014/main" id="{040575EE-C594-4566-BC00-663004E52A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617861" y="1417320"/>
            <a:ext cx="0" cy="40233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 name="ZoneTexte 4">
            <a:extLst>
              <a:ext uri="{FF2B5EF4-FFF2-40B4-BE49-F238E27FC236}">
                <a16:creationId xmlns:a16="http://schemas.microsoft.com/office/drawing/2014/main" id="{DFEA2082-E7DE-4453-8158-54F380B94285}"/>
              </a:ext>
            </a:extLst>
          </p:cNvPr>
          <p:cNvSpPr txBox="1"/>
          <p:nvPr/>
        </p:nvSpPr>
        <p:spPr>
          <a:xfrm>
            <a:off x="8045042" y="1417320"/>
            <a:ext cx="3649777" cy="3600986"/>
          </a:xfrm>
          <a:prstGeom prst="rect">
            <a:avLst/>
          </a:prstGeom>
          <a:noFill/>
        </p:spPr>
        <p:txBody>
          <a:bodyPr wrap="square" rtlCol="0">
            <a:spAutoFit/>
          </a:bodyPr>
          <a:lstStyle/>
          <a:p>
            <a:r>
              <a:rPr lang="fr-FR" sz="3200" dirty="0">
                <a:latin typeface="Arial" panose="020B0604020202020204" pitchFamily="34" charset="0"/>
                <a:cs typeface="Arial" panose="020B0604020202020204" pitchFamily="34" charset="0"/>
              </a:rPr>
              <a:t>Le « comptable »</a:t>
            </a:r>
          </a:p>
          <a:p>
            <a:endParaRPr lang="fr-FR" sz="3200" dirty="0">
              <a:latin typeface="Arial" panose="020B0604020202020204" pitchFamily="34" charset="0"/>
              <a:cs typeface="Arial" panose="020B0604020202020204" pitchFamily="34" charset="0"/>
            </a:endParaRPr>
          </a:p>
          <a:p>
            <a:r>
              <a:rPr lang="fr-FR" sz="3200" dirty="0">
                <a:latin typeface="Arial" panose="020B0604020202020204" pitchFamily="34" charset="0"/>
                <a:cs typeface="Arial" panose="020B0604020202020204" pitchFamily="34" charset="0"/>
              </a:rPr>
              <a:t>L’expert-comptable</a:t>
            </a:r>
          </a:p>
          <a:p>
            <a:endParaRPr lang="fr-FR" sz="3200" dirty="0">
              <a:latin typeface="Arial" panose="020B0604020202020204" pitchFamily="34" charset="0"/>
              <a:cs typeface="Arial" panose="020B0604020202020204" pitchFamily="34" charset="0"/>
            </a:endParaRPr>
          </a:p>
          <a:p>
            <a:r>
              <a:rPr lang="fr-FR" sz="3200" dirty="0">
                <a:latin typeface="Arial" panose="020B0604020202020204" pitchFamily="34" charset="0"/>
                <a:cs typeface="Arial" panose="020B0604020202020204" pitchFamily="34" charset="0"/>
              </a:rPr>
              <a:t>Le commissaires aux comptes</a:t>
            </a:r>
          </a:p>
          <a:p>
            <a:endParaRPr lang="fr-FR" dirty="0"/>
          </a:p>
          <a:p>
            <a:endParaRPr lang="fr-FR" dirty="0"/>
          </a:p>
        </p:txBody>
      </p:sp>
    </p:spTree>
    <p:extLst>
      <p:ext uri="{BB962C8B-B14F-4D97-AF65-F5344CB8AC3E}">
        <p14:creationId xmlns:p14="http://schemas.microsoft.com/office/powerpoint/2010/main" val="199886149"/>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22639" y="4760132"/>
            <a:ext cx="12040730" cy="1777829"/>
          </a:xfrm>
          <a:prstGeom prst="ellipse">
            <a:avLst/>
          </a:prstGeom>
        </p:spPr>
        <p:txBody>
          <a:bodyPr vert="horz" lIns="91440" tIns="45720" rIns="91440" bIns="45720" rtlCol="0" anchor="ctr">
            <a:normAutofit/>
          </a:bodyPr>
          <a:lstStyle/>
          <a:p>
            <a:pPr algn="just"/>
            <a:r>
              <a:rPr lang="en-US" sz="2700" dirty="0" err="1">
                <a:latin typeface="Arial" panose="020B0604020202020204" pitchFamily="34" charset="0"/>
                <a:cs typeface="Arial" panose="020B0604020202020204" pitchFamily="34" charset="0"/>
              </a:rPr>
              <a:t>Comptabilité</a:t>
            </a:r>
            <a:r>
              <a:rPr lang="en-US" sz="2700" dirty="0">
                <a:latin typeface="Arial" panose="020B0604020202020204" pitchFamily="34" charset="0"/>
                <a:cs typeface="Arial" panose="020B0604020202020204" pitchFamily="34" charset="0"/>
              </a:rPr>
              <a:t> – Les </a:t>
            </a:r>
            <a:r>
              <a:rPr lang="en-US" sz="2700" dirty="0" err="1">
                <a:latin typeface="Arial" panose="020B0604020202020204" pitchFamily="34" charset="0"/>
                <a:cs typeface="Arial" panose="020B0604020202020204" pitchFamily="34" charset="0"/>
              </a:rPr>
              <a:t>outils</a:t>
            </a:r>
            <a:r>
              <a:rPr lang="en-US" sz="2700" dirty="0">
                <a:latin typeface="Arial" panose="020B0604020202020204" pitchFamily="34" charset="0"/>
                <a:cs typeface="Arial" panose="020B0604020202020204" pitchFamily="34" charset="0"/>
              </a:rPr>
              <a:t> – “le </a:t>
            </a:r>
            <a:r>
              <a:rPr lang="en-US" sz="2700" dirty="0" err="1">
                <a:latin typeface="Arial" panose="020B0604020202020204" pitchFamily="34" charset="0"/>
                <a:cs typeface="Arial" panose="020B0604020202020204" pitchFamily="34" charset="0"/>
              </a:rPr>
              <a:t>vocabulaire</a:t>
            </a:r>
            <a:r>
              <a:rPr lang="en-US" sz="2700" dirty="0">
                <a:latin typeface="Arial" panose="020B0604020202020204" pitchFamily="34" charset="0"/>
                <a:cs typeface="Arial" panose="020B0604020202020204" pitchFamily="34" charset="0"/>
              </a:rPr>
              <a:t>”</a:t>
            </a:r>
            <a:br>
              <a:rPr lang="en-US" sz="2700" dirty="0">
                <a:latin typeface="Arial" panose="020B0604020202020204" pitchFamily="34" charset="0"/>
                <a:cs typeface="Arial" panose="020B0604020202020204" pitchFamily="34" charset="0"/>
              </a:rPr>
            </a:br>
            <a:br>
              <a:rPr lang="en-US" sz="2500" dirty="0">
                <a:latin typeface="Arial" panose="020B0604020202020204" pitchFamily="34" charset="0"/>
                <a:cs typeface="Arial" panose="020B0604020202020204" pitchFamily="34" charset="0"/>
              </a:rPr>
            </a:br>
            <a:endParaRPr lang="en-US" sz="2500" dirty="0">
              <a:latin typeface="Arial" panose="020B0604020202020204" pitchFamily="34" charset="0"/>
              <a:cs typeface="Arial" panose="020B0604020202020204" pitchFamily="34" charset="0"/>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0" y="287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55533496"/>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65430" y="629268"/>
            <a:ext cx="6586491" cy="1286160"/>
          </a:xfrm>
        </p:spPr>
        <p:txBody>
          <a:bodyPr vert="horz" lIns="91440" tIns="45720" rIns="91440" bIns="45720" rtlCol="0" anchor="b">
            <a:normAutofit/>
          </a:bodyPr>
          <a:lstStyle/>
          <a:p>
            <a:r>
              <a:rPr lang="en-US" dirty="0"/>
              <a:t>Le PCG </a:t>
            </a:r>
          </a:p>
        </p:txBody>
      </p:sp>
      <p:pic>
        <p:nvPicPr>
          <p:cNvPr id="12" name="Picture 11" descr="Plusieurs points d’interrogation sur fond noir">
            <a:extLst>
              <a:ext uri="{FF2B5EF4-FFF2-40B4-BE49-F238E27FC236}">
                <a16:creationId xmlns:a16="http://schemas.microsoft.com/office/drawing/2014/main" id="{1FD79E4A-E80D-4BA5-BEA9-44F693117FDC}"/>
              </a:ext>
            </a:extLst>
          </p:cNvPr>
          <p:cNvPicPr>
            <a:picLocks noChangeAspect="1"/>
          </p:cNvPicPr>
          <p:nvPr/>
        </p:nvPicPr>
        <p:blipFill rotWithShape="1">
          <a:blip r:embed="rId3"/>
          <a:srcRect l="58767" r="2" b="2"/>
          <a:stretch/>
        </p:blipFill>
        <p:spPr>
          <a:xfrm>
            <a:off x="20" y="10"/>
            <a:ext cx="4635571" cy="6857990"/>
          </a:xfrm>
          <a:prstGeom prst="rect">
            <a:avLst/>
          </a:prstGeom>
          <a:effectLst/>
        </p:spPr>
      </p:pic>
      <p:cxnSp>
        <p:nvCxnSpPr>
          <p:cNvPr id="16" name="Straight Connector 15">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8" name="ZoneTexte 9">
            <a:extLst>
              <a:ext uri="{FF2B5EF4-FFF2-40B4-BE49-F238E27FC236}">
                <a16:creationId xmlns:a16="http://schemas.microsoft.com/office/drawing/2014/main" id="{617CF2FB-A56B-4819-897B-4183F10C8A27}"/>
              </a:ext>
            </a:extLst>
          </p:cNvPr>
          <p:cNvGraphicFramePr/>
          <p:nvPr/>
        </p:nvGraphicFramePr>
        <p:xfrm>
          <a:off x="4965431" y="2438400"/>
          <a:ext cx="6586489" cy="378541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884028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65430" y="629268"/>
            <a:ext cx="6586491" cy="1286160"/>
          </a:xfrm>
        </p:spPr>
        <p:txBody>
          <a:bodyPr vert="horz" lIns="91440" tIns="45720" rIns="91440" bIns="45720" rtlCol="0" anchor="b">
            <a:normAutofit/>
          </a:bodyPr>
          <a:lstStyle/>
          <a:p>
            <a:r>
              <a:rPr lang="en-US" dirty="0"/>
              <a:t>Le PCG </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4706224" y="2438400"/>
            <a:ext cx="7298421" cy="4021121"/>
          </a:xfrm>
          <a:prstGeom prst="rect">
            <a:avLst/>
          </a:prstGeom>
        </p:spPr>
        <p:txBody>
          <a:bodyPr vert="horz" lIns="91440" tIns="45720" rIns="91440" bIns="45720" rtlCol="0">
            <a:normAutofit/>
          </a:bodyPr>
          <a:lstStyle/>
          <a:p>
            <a:pPr indent="-228600" algn="just">
              <a:lnSpc>
                <a:spcPct val="90000"/>
              </a:lnSpc>
              <a:spcAft>
                <a:spcPts val="600"/>
              </a:spcAft>
              <a:buFont typeface="Arial" panose="020B0604020202020204" pitchFamily="34" charset="0"/>
              <a:buChar char="•"/>
            </a:pPr>
            <a:r>
              <a:rPr lang="fr-FR" sz="2400" b="0" i="0" dirty="0">
                <a:solidFill>
                  <a:srgbClr val="202122"/>
                </a:solidFill>
                <a:effectLst/>
                <a:latin typeface="Arial" panose="020B0604020202020204" pitchFamily="34" charset="0"/>
                <a:cs typeface="Arial" panose="020B0604020202020204" pitchFamily="34" charset="0"/>
              </a:rPr>
              <a:t>Le </a:t>
            </a:r>
            <a:r>
              <a:rPr lang="fr-FR" sz="2400" b="1" i="0" dirty="0">
                <a:solidFill>
                  <a:srgbClr val="202122"/>
                </a:solidFill>
                <a:effectLst/>
                <a:latin typeface="Arial" panose="020B0604020202020204" pitchFamily="34" charset="0"/>
                <a:cs typeface="Arial" panose="020B0604020202020204" pitchFamily="34" charset="0"/>
              </a:rPr>
              <a:t>plan comptable général</a:t>
            </a:r>
            <a:r>
              <a:rPr lang="fr-FR" sz="2400" b="0" i="0" dirty="0">
                <a:solidFill>
                  <a:srgbClr val="202122"/>
                </a:solidFill>
                <a:effectLst/>
                <a:latin typeface="Arial" panose="020B0604020202020204" pitchFamily="34" charset="0"/>
                <a:cs typeface="Arial" panose="020B0604020202020204" pitchFamily="34" charset="0"/>
              </a:rPr>
              <a:t> (abrégé </a:t>
            </a:r>
            <a:r>
              <a:rPr lang="fr-FR" sz="2400" b="1" i="0" dirty="0">
                <a:solidFill>
                  <a:srgbClr val="202122"/>
                </a:solidFill>
                <a:effectLst/>
                <a:latin typeface="Arial" panose="020B0604020202020204" pitchFamily="34" charset="0"/>
                <a:cs typeface="Arial" panose="020B0604020202020204" pitchFamily="34" charset="0"/>
              </a:rPr>
              <a:t>PCG</a:t>
            </a:r>
            <a:r>
              <a:rPr lang="fr-FR" sz="2400" b="0" i="0" dirty="0">
                <a:solidFill>
                  <a:srgbClr val="202122"/>
                </a:solidFill>
                <a:effectLst/>
                <a:latin typeface="Arial" panose="020B0604020202020204" pitchFamily="34" charset="0"/>
                <a:cs typeface="Arial" panose="020B0604020202020204" pitchFamily="34" charset="0"/>
              </a:rPr>
              <a:t>) est une </a:t>
            </a:r>
            <a:r>
              <a:rPr lang="fr-FR" sz="2400" b="0" i="0" strike="noStrike" dirty="0">
                <a:solidFill>
                  <a:srgbClr val="0645AD"/>
                </a:solidFill>
                <a:effectLst/>
                <a:latin typeface="Arial" panose="020B0604020202020204" pitchFamily="34" charset="0"/>
                <a:cs typeface="Arial" panose="020B0604020202020204" pitchFamily="34" charset="0"/>
                <a:hlinkClick r:id="rId3" tooltip="Réglementation"/>
              </a:rPr>
              <a:t>réglementation</a:t>
            </a:r>
            <a:r>
              <a:rPr lang="fr-FR" sz="2400" b="0" i="0" dirty="0">
                <a:solidFill>
                  <a:srgbClr val="202122"/>
                </a:solidFill>
                <a:effectLst/>
                <a:latin typeface="Arial" panose="020B0604020202020204" pitchFamily="34" charset="0"/>
                <a:cs typeface="Arial" panose="020B0604020202020204" pitchFamily="34" charset="0"/>
              </a:rPr>
              <a:t> de </a:t>
            </a:r>
            <a:r>
              <a:rPr lang="fr-FR" sz="2400" b="0" i="0" strike="noStrike" dirty="0">
                <a:solidFill>
                  <a:srgbClr val="0645AD"/>
                </a:solidFill>
                <a:effectLst/>
                <a:latin typeface="Arial" panose="020B0604020202020204" pitchFamily="34" charset="0"/>
                <a:cs typeface="Arial" panose="020B0604020202020204" pitchFamily="34" charset="0"/>
                <a:hlinkClick r:id="rId4" tooltip="Norme"/>
              </a:rPr>
              <a:t>normalisation</a:t>
            </a:r>
            <a:r>
              <a:rPr lang="fr-FR" sz="2400" b="0" i="0" dirty="0">
                <a:solidFill>
                  <a:srgbClr val="202122"/>
                </a:solidFill>
                <a:effectLst/>
                <a:latin typeface="Arial" panose="020B0604020202020204" pitchFamily="34" charset="0"/>
                <a:cs typeface="Arial" panose="020B0604020202020204" pitchFamily="34" charset="0"/>
              </a:rPr>
              <a:t> </a:t>
            </a:r>
            <a:r>
              <a:rPr lang="fr-FR" sz="2400" b="0" i="0" strike="noStrike" dirty="0">
                <a:solidFill>
                  <a:srgbClr val="0645AD"/>
                </a:solidFill>
                <a:effectLst/>
                <a:latin typeface="Arial" panose="020B0604020202020204" pitchFamily="34" charset="0"/>
                <a:cs typeface="Arial" panose="020B0604020202020204" pitchFamily="34" charset="0"/>
                <a:hlinkClick r:id="rId5" tooltip="Comptabilité"/>
              </a:rPr>
              <a:t>comptable</a:t>
            </a:r>
            <a:r>
              <a:rPr lang="fr-FR" sz="2400" b="0" i="0" dirty="0">
                <a:solidFill>
                  <a:srgbClr val="202122"/>
                </a:solidFill>
                <a:effectLst/>
                <a:latin typeface="Arial" panose="020B0604020202020204" pitchFamily="34" charset="0"/>
                <a:cs typeface="Arial" panose="020B0604020202020204" pitchFamily="34" charset="0"/>
              </a:rPr>
              <a:t> en France, édicté par l'</a:t>
            </a:r>
            <a:r>
              <a:rPr lang="fr-FR" sz="2400" b="0" i="0" strike="noStrike" dirty="0">
                <a:solidFill>
                  <a:srgbClr val="0645AD"/>
                </a:solidFill>
                <a:effectLst/>
                <a:latin typeface="Arial" panose="020B0604020202020204" pitchFamily="34" charset="0"/>
                <a:cs typeface="Arial" panose="020B0604020202020204" pitchFamily="34" charset="0"/>
                <a:hlinkClick r:id="rId6" tooltip="Autorité des normes comptables"/>
              </a:rPr>
              <a:t>Autorité des normes comptables</a:t>
            </a:r>
            <a:r>
              <a:rPr lang="fr-FR" sz="2400" b="0" i="0" dirty="0">
                <a:solidFill>
                  <a:srgbClr val="202122"/>
                </a:solidFill>
                <a:effectLst/>
                <a:latin typeface="Arial" panose="020B0604020202020204" pitchFamily="34" charset="0"/>
                <a:cs typeface="Arial" panose="020B0604020202020204" pitchFamily="34" charset="0"/>
              </a:rPr>
              <a:t> (ANC). </a:t>
            </a:r>
          </a:p>
          <a:p>
            <a:pPr indent="-228600" algn="just">
              <a:lnSpc>
                <a:spcPct val="90000"/>
              </a:lnSpc>
              <a:spcAft>
                <a:spcPts val="600"/>
              </a:spcAft>
              <a:buFont typeface="Arial" panose="020B0604020202020204" pitchFamily="34" charset="0"/>
              <a:buChar char="•"/>
            </a:pPr>
            <a:endParaRPr lang="fr-FR" sz="2400" b="0" i="0" dirty="0">
              <a:solidFill>
                <a:srgbClr val="202122"/>
              </a:solidFill>
              <a:effectLst/>
              <a:latin typeface="Arial" panose="020B0604020202020204" pitchFamily="34" charset="0"/>
              <a:cs typeface="Arial" panose="020B0604020202020204" pitchFamily="34" charset="0"/>
            </a:endParaRPr>
          </a:p>
          <a:p>
            <a:pPr indent="-228600" algn="just">
              <a:lnSpc>
                <a:spcPct val="90000"/>
              </a:lnSpc>
              <a:spcAft>
                <a:spcPts val="600"/>
              </a:spcAft>
              <a:buFont typeface="Arial" panose="020B0604020202020204" pitchFamily="34" charset="0"/>
              <a:buChar char="•"/>
            </a:pPr>
            <a:r>
              <a:rPr lang="fr-FR" sz="2400" b="0" i="0" dirty="0">
                <a:solidFill>
                  <a:srgbClr val="202122"/>
                </a:solidFill>
                <a:effectLst/>
                <a:latin typeface="Arial" panose="020B0604020202020204" pitchFamily="34" charset="0"/>
                <a:cs typeface="Arial" panose="020B0604020202020204" pitchFamily="34" charset="0"/>
              </a:rPr>
              <a:t>Le PCG définit les règles comptables applicables aux </a:t>
            </a:r>
            <a:r>
              <a:rPr lang="fr-FR" sz="2400" b="0" i="0" u="none" strike="noStrike" dirty="0">
                <a:solidFill>
                  <a:srgbClr val="0645AD"/>
                </a:solidFill>
                <a:effectLst/>
                <a:latin typeface="Arial" panose="020B0604020202020204" pitchFamily="34" charset="0"/>
                <a:cs typeface="Arial" panose="020B0604020202020204" pitchFamily="34" charset="0"/>
                <a:hlinkClick r:id="rId7" tooltip="Entreprise"/>
              </a:rPr>
              <a:t>entreprises</a:t>
            </a:r>
            <a:r>
              <a:rPr lang="fr-FR" sz="2400" b="0" i="0" dirty="0">
                <a:solidFill>
                  <a:srgbClr val="202122"/>
                </a:solidFill>
                <a:effectLst/>
                <a:latin typeface="Arial" panose="020B0604020202020204" pitchFamily="34" charset="0"/>
                <a:cs typeface="Arial" panose="020B0604020202020204" pitchFamily="34" charset="0"/>
              </a:rPr>
              <a:t> domiciliées en France, ainsi que la présentation de leurs comptes financiers, bilans, comptes de résultats, rapports et annexes.</a:t>
            </a:r>
            <a:endParaRPr lang="en-US" sz="2400" dirty="0">
              <a:latin typeface="Arial" panose="020B0604020202020204" pitchFamily="34" charset="0"/>
              <a:cs typeface="Arial" panose="020B0604020202020204" pitchFamily="34" charset="0"/>
            </a:endParaRPr>
          </a:p>
          <a:p>
            <a:pPr algn="just">
              <a:lnSpc>
                <a:spcPct val="90000"/>
              </a:lnSpc>
              <a:spcAft>
                <a:spcPts val="600"/>
              </a:spcAft>
            </a:pPr>
            <a:endParaRPr lang="en-US" sz="2400" dirty="0">
              <a:latin typeface="Arial" panose="020B0604020202020204" pitchFamily="34" charset="0"/>
              <a:cs typeface="Arial" panose="020B0604020202020204" pitchFamily="34" charset="0"/>
            </a:endParaRPr>
          </a:p>
        </p:txBody>
      </p:sp>
      <p:pic>
        <p:nvPicPr>
          <p:cNvPr id="12" name="Picture 11" descr="Plusieurs points d’interrogation sur fond noir">
            <a:extLst>
              <a:ext uri="{FF2B5EF4-FFF2-40B4-BE49-F238E27FC236}">
                <a16:creationId xmlns:a16="http://schemas.microsoft.com/office/drawing/2014/main" id="{1FD79E4A-E80D-4BA5-BEA9-44F693117FDC}"/>
              </a:ext>
            </a:extLst>
          </p:cNvPr>
          <p:cNvPicPr>
            <a:picLocks noChangeAspect="1"/>
          </p:cNvPicPr>
          <p:nvPr/>
        </p:nvPicPr>
        <p:blipFill rotWithShape="1">
          <a:blip r:embed="rId8"/>
          <a:srcRect l="58767" r="2" b="2"/>
          <a:stretch/>
        </p:blipFill>
        <p:spPr>
          <a:xfrm>
            <a:off x="20" y="10"/>
            <a:ext cx="4635571" cy="6857990"/>
          </a:xfrm>
          <a:prstGeom prst="rect">
            <a:avLst/>
          </a:prstGeom>
          <a:effectLst/>
        </p:spPr>
      </p:pic>
      <p:cxnSp>
        <p:nvCxnSpPr>
          <p:cNvPr id="16" name="Straight Connector 15">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459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1420320960"/>
              </p:ext>
            </p:extLst>
          </p:nvPr>
        </p:nvGraphicFramePr>
        <p:xfrm>
          <a:off x="261938" y="827088"/>
          <a:ext cx="11122342" cy="5339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0377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22639" y="4760132"/>
            <a:ext cx="12040730" cy="1777829"/>
          </a:xfrm>
          <a:prstGeom prst="ellipse">
            <a:avLst/>
          </a:prstGeom>
        </p:spPr>
        <p:txBody>
          <a:bodyPr vert="horz" lIns="91440" tIns="45720" rIns="91440" bIns="45720" rtlCol="0" anchor="ctr">
            <a:normAutofit/>
          </a:bodyPr>
          <a:lstStyle/>
          <a:p>
            <a:pPr algn="ctr"/>
            <a:r>
              <a:rPr lang="en-US" sz="2700" dirty="0">
                <a:latin typeface="Arial" panose="020B0604020202020204" pitchFamily="34" charset="0"/>
                <a:cs typeface="Arial" panose="020B0604020202020204" pitchFamily="34" charset="0"/>
              </a:rPr>
              <a:t>Le PCG – Une </a:t>
            </a:r>
            <a:r>
              <a:rPr lang="en-US" sz="2700" dirty="0" err="1">
                <a:latin typeface="Arial" panose="020B0604020202020204" pitchFamily="34" charset="0"/>
                <a:cs typeface="Arial" panose="020B0604020202020204" pitchFamily="34" charset="0"/>
              </a:rPr>
              <a:t>merveille</a:t>
            </a:r>
            <a:endParaRPr lang="en-US" sz="2500" dirty="0">
              <a:latin typeface="Arial" panose="020B0604020202020204" pitchFamily="34" charset="0"/>
              <a:cs typeface="Arial" panose="020B0604020202020204" pitchFamily="34" charset="0"/>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0" y="287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19805560"/>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55" name="Rectangle 54">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9" name="Rectangle 58">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10000"/>
              </a:lnSpc>
              <a:spcBef>
                <a:spcPts val="0"/>
              </a:spcBef>
              <a:spcAft>
                <a:spcPts val="600"/>
              </a:spcAft>
              <a:buClr>
                <a:schemeClr val="accent1"/>
              </a:buClr>
              <a:buSzPct val="100000"/>
              <a:buFont typeface="Arial" panose="020B0604020202020204" pitchFamily="34" charset="0"/>
              <a:buChar char="•"/>
              <a:tabLst/>
              <a:defRPr/>
            </a:pPr>
            <a:endParaRPr kumimoji="0" lang="en-US" b="0" i="0" u="none" strike="noStrike" cap="none" spc="0" normalizeH="0" baseline="0" noProof="0" dirty="0">
              <a:ln>
                <a:noFill/>
              </a:ln>
              <a:uLnTx/>
              <a:uFillTx/>
            </a:endParaRPr>
          </a:p>
          <a:p>
            <a:pPr marL="0" marR="0" lvl="0" indent="-228600" fontAlgn="auto">
              <a:lnSpc>
                <a:spcPct val="110000"/>
              </a:lnSpc>
              <a:spcBef>
                <a:spcPts val="0"/>
              </a:spcBef>
              <a:spcAft>
                <a:spcPts val="600"/>
              </a:spcAft>
              <a:buClr>
                <a:schemeClr val="accent1"/>
              </a:buClr>
              <a:buSzPct val="100000"/>
              <a:buFont typeface="Arial" panose="020B0604020202020204" pitchFamily="34" charset="0"/>
              <a:buChar char="•"/>
              <a:tabLst/>
              <a:defRPr/>
            </a:pPr>
            <a:endParaRPr kumimoji="0" lang="en-US" b="0" i="0" u="none" strike="noStrike" cap="none" spc="0" normalizeH="0" baseline="0" noProof="0" dirty="0">
              <a:ln>
                <a:noFill/>
              </a:ln>
              <a:uLnTx/>
              <a:uFillTx/>
            </a:endParaRPr>
          </a:p>
        </p:txBody>
      </p:sp>
      <p:pic>
        <p:nvPicPr>
          <p:cNvPr id="65" name="Picture 64">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pic>
        <p:nvPicPr>
          <p:cNvPr id="3074" name="Picture 2" descr="Résultat de recherche d'images pour &quot;liste plan comptable&quot;">
            <a:extLst>
              <a:ext uri="{FF2B5EF4-FFF2-40B4-BE49-F238E27FC236}">
                <a16:creationId xmlns:a16="http://schemas.microsoft.com/office/drawing/2014/main" id="{5773E1FE-EFF0-45D9-823D-1B322AAF21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9089" y="1119110"/>
            <a:ext cx="8053519" cy="3882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848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3352017210"/>
              </p:ext>
            </p:extLst>
          </p:nvPr>
        </p:nvGraphicFramePr>
        <p:xfrm>
          <a:off x="807722" y="1990976"/>
          <a:ext cx="10576558" cy="41754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592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D6CDB20-394C-4D51-9C5B-8751E21338D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dirty="0"/>
          </a:p>
        </p:txBody>
      </p:sp>
      <p:sp>
        <p:nvSpPr>
          <p:cNvPr id="13" name="Rounded Rectangle 3">
            <a:extLst>
              <a:ext uri="{FF2B5EF4-FFF2-40B4-BE49-F238E27FC236}">
                <a16:creationId xmlns:a16="http://schemas.microsoft.com/office/drawing/2014/main" id="{46DFD1E0-DCA7-47E6-B78B-6ECDDF873D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6745" y="640080"/>
            <a:ext cx="10920415" cy="5577818"/>
          </a:xfrm>
          <a:prstGeom prst="roundRect">
            <a:avLst>
              <a:gd name="adj" fmla="val 0"/>
            </a:avLst>
          </a:prstGeom>
          <a:solidFill>
            <a:srgbClr val="FFFFFF"/>
          </a:solidFill>
          <a:ln w="9525">
            <a:solidFill>
              <a:schemeClr val="tx1">
                <a:lumMod val="50000"/>
                <a:lumOff val="50000"/>
              </a:schemeClr>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8AAB0B1E-BB97-40E0-8DCD-D1197A0E1D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68024" y="960109"/>
            <a:ext cx="10277856" cy="4937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3112751474"/>
              </p:ext>
            </p:extLst>
          </p:nvPr>
        </p:nvGraphicFramePr>
        <p:xfrm>
          <a:off x="1132718" y="1178715"/>
          <a:ext cx="9840081" cy="43057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4762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12">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1" y="-1"/>
            <a:ext cx="9144795" cy="686920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grpSp>
        <p:nvGrpSpPr>
          <p:cNvPr id="37" name="Group 14">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276745" y="-59376"/>
            <a:ext cx="9386886" cy="6923798"/>
            <a:chOff x="-329674" y="-51881"/>
            <a:chExt cx="12515851" cy="6923798"/>
          </a:xfrm>
        </p:grpSpPr>
        <p:sp>
          <p:nvSpPr>
            <p:cNvPr id="16"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7"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8"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bg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9"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bg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5"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bg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6"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bg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7"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bg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9"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3"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bg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34"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bg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1C3FB199-37AF-4AEB-91D2-99997345373F}"/>
              </a:ext>
            </a:extLst>
          </p:cNvPr>
          <p:cNvSpPr>
            <a:spLocks noGrp="1"/>
          </p:cNvSpPr>
          <p:nvPr>
            <p:ph type="title"/>
          </p:nvPr>
        </p:nvSpPr>
        <p:spPr>
          <a:xfrm>
            <a:off x="2557818" y="5199798"/>
            <a:ext cx="7076364" cy="789673"/>
          </a:xfrm>
        </p:spPr>
        <p:txBody>
          <a:bodyPr vert="horz" lIns="91440" tIns="45720" rIns="91440" bIns="45720" rtlCol="0" anchor="ctr">
            <a:normAutofit fontScale="90000"/>
          </a:bodyPr>
          <a:lstStyle/>
          <a:p>
            <a:pPr>
              <a:lnSpc>
                <a:spcPct val="90000"/>
              </a:lnSpc>
            </a:pPr>
            <a:br>
              <a:rPr lang="en-US" sz="2500" dirty="0">
                <a:solidFill>
                  <a:schemeClr val="bg1"/>
                </a:solidFill>
              </a:rPr>
            </a:br>
            <a:r>
              <a:rPr lang="en-US" sz="4000" dirty="0">
                <a:solidFill>
                  <a:schemeClr val="bg1"/>
                </a:solidFill>
                <a:latin typeface="Arial" panose="020B0604020202020204" pitchFamily="34" charset="0"/>
                <a:cs typeface="Arial" panose="020B0604020202020204" pitchFamily="34" charset="0"/>
              </a:rPr>
              <a:t>Les </a:t>
            </a:r>
            <a:r>
              <a:rPr lang="en-US" sz="4000" dirty="0" err="1">
                <a:solidFill>
                  <a:schemeClr val="bg1"/>
                </a:solidFill>
                <a:latin typeface="Arial" panose="020B0604020202020204" pitchFamily="34" charset="0"/>
                <a:cs typeface="Arial" panose="020B0604020202020204" pitchFamily="34" charset="0"/>
              </a:rPr>
              <a:t>objectifs</a:t>
            </a:r>
            <a:endParaRPr lang="en-US" sz="4000" dirty="0">
              <a:solidFill>
                <a:schemeClr val="bg1"/>
              </a:solidFill>
              <a:latin typeface="Arial" panose="020B0604020202020204" pitchFamily="34" charset="0"/>
              <a:cs typeface="Arial" panose="020B0604020202020204" pitchFamily="34" charset="0"/>
            </a:endParaRPr>
          </a:p>
        </p:txBody>
      </p:sp>
      <p:sp>
        <p:nvSpPr>
          <p:cNvPr id="36" name="Freeform: Shape 35">
            <a:extLst>
              <a:ext uri="{FF2B5EF4-FFF2-40B4-BE49-F238E27FC236}">
                <a16:creationId xmlns:a16="http://schemas.microsoft.com/office/drawing/2014/main" id="{A7795DFA-888F-47E2-B44E-DE1D3B3E46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1"/>
            <a:ext cx="9144000" cy="5058957"/>
          </a:xfrm>
          <a:custGeom>
            <a:avLst/>
            <a:gdLst>
              <a:gd name="connsiteX0" fmla="*/ 0 w 12192000"/>
              <a:gd name="connsiteY0" fmla="*/ 0 h 5058957"/>
              <a:gd name="connsiteX1" fmla="*/ 12192000 w 12192000"/>
              <a:gd name="connsiteY1" fmla="*/ 0 h 5058957"/>
              <a:gd name="connsiteX2" fmla="*/ 12192000 w 12192000"/>
              <a:gd name="connsiteY2" fmla="*/ 259692 h 5058957"/>
              <a:gd name="connsiteX3" fmla="*/ 12192000 w 12192000"/>
              <a:gd name="connsiteY3" fmla="*/ 3542069 h 5058957"/>
              <a:gd name="connsiteX4" fmla="*/ 12192000 w 12192000"/>
              <a:gd name="connsiteY4" fmla="*/ 3734194 h 5058957"/>
              <a:gd name="connsiteX5" fmla="*/ 12192000 w 12192000"/>
              <a:gd name="connsiteY5" fmla="*/ 4710012 h 5058957"/>
              <a:gd name="connsiteX6" fmla="*/ 12113803 w 12192000"/>
              <a:gd name="connsiteY6" fmla="*/ 4718295 h 5058957"/>
              <a:gd name="connsiteX7" fmla="*/ 6753597 w 12192000"/>
              <a:gd name="connsiteY7" fmla="*/ 5041852 h 5058957"/>
              <a:gd name="connsiteX8" fmla="*/ 400746 w 12192000"/>
              <a:gd name="connsiteY8" fmla="*/ 4870509 h 5058957"/>
              <a:gd name="connsiteX9" fmla="*/ 0 w 12192000"/>
              <a:gd name="connsiteY9" fmla="*/ 4833533 h 5058957"/>
              <a:gd name="connsiteX10" fmla="*/ 0 w 12192000"/>
              <a:gd name="connsiteY10" fmla="*/ 3734194 h 5058957"/>
              <a:gd name="connsiteX11" fmla="*/ 0 w 12192000"/>
              <a:gd name="connsiteY11" fmla="*/ 3542069 h 5058957"/>
              <a:gd name="connsiteX12" fmla="*/ 0 w 12192000"/>
              <a:gd name="connsiteY12" fmla="*/ 259692 h 505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058957">
                <a:moveTo>
                  <a:pt x="0" y="0"/>
                </a:moveTo>
                <a:lnTo>
                  <a:pt x="12192000" y="0"/>
                </a:lnTo>
                <a:lnTo>
                  <a:pt x="12192000" y="259692"/>
                </a:lnTo>
                <a:lnTo>
                  <a:pt x="12192000" y="3542069"/>
                </a:lnTo>
                <a:lnTo>
                  <a:pt x="12192000" y="3734194"/>
                </a:lnTo>
                <a:lnTo>
                  <a:pt x="12192000" y="4710012"/>
                </a:lnTo>
                <a:lnTo>
                  <a:pt x="12113803" y="4718295"/>
                </a:lnTo>
                <a:cubicBezTo>
                  <a:pt x="10139508" y="4916244"/>
                  <a:pt x="8237152" y="5009247"/>
                  <a:pt x="6753597" y="5041852"/>
                </a:cubicBezTo>
                <a:cubicBezTo>
                  <a:pt x="4940362" y="5081701"/>
                  <a:pt x="2657278" y="5062371"/>
                  <a:pt x="400746" y="4870509"/>
                </a:cubicBezTo>
                <a:lnTo>
                  <a:pt x="0" y="4833533"/>
                </a:lnTo>
                <a:lnTo>
                  <a:pt x="0" y="3734194"/>
                </a:lnTo>
                <a:lnTo>
                  <a:pt x="0" y="3542069"/>
                </a:lnTo>
                <a:lnTo>
                  <a:pt x="0" y="259692"/>
                </a:lnTo>
                <a:close/>
              </a:path>
            </a:pathLst>
          </a:custGeom>
          <a:solidFill>
            <a:schemeClr val="bg1"/>
          </a:solidFill>
          <a:ln w="44450">
            <a:noFill/>
          </a:ln>
          <a:effectLst/>
        </p:spPr>
        <p:style>
          <a:lnRef idx="2">
            <a:schemeClr val="accent1">
              <a:shade val="50000"/>
            </a:schemeClr>
          </a:lnRef>
          <a:fillRef idx="1003">
            <a:schemeClr val="dk2"/>
          </a:fillRef>
          <a:effectRef idx="0">
            <a:schemeClr val="accent1"/>
          </a:effectRef>
          <a:fontRef idx="minor">
            <a:schemeClr val="lt1"/>
          </a:fontRef>
        </p:style>
        <p:txBody>
          <a:bodyPr wrap="square" rtlCol="0" anchor="ctr">
            <a:noAutofit/>
          </a:bodyPr>
          <a:lstStyle/>
          <a:p>
            <a:pPr algn="ctr"/>
            <a:endParaRPr lang="en-US">
              <a:solidFill>
                <a:prstClr val="white"/>
              </a:solidFill>
              <a:latin typeface="Calibri"/>
            </a:endParaRPr>
          </a:p>
        </p:txBody>
      </p:sp>
      <p:sp>
        <p:nvSpPr>
          <p:cNvPr id="4" name="ZoneTexte 3">
            <a:extLst>
              <a:ext uri="{FF2B5EF4-FFF2-40B4-BE49-F238E27FC236}">
                <a16:creationId xmlns:a16="http://schemas.microsoft.com/office/drawing/2014/main" id="{46D878E7-F5C5-452B-937D-8840816B6ECF}"/>
              </a:ext>
            </a:extLst>
          </p:cNvPr>
          <p:cNvSpPr txBox="1"/>
          <p:nvPr/>
        </p:nvSpPr>
        <p:spPr>
          <a:xfrm>
            <a:off x="2843428" y="6003837"/>
            <a:ext cx="6505071" cy="405405"/>
          </a:xfrm>
          <a:prstGeom prst="rect">
            <a:avLst/>
          </a:prstGeom>
        </p:spPr>
        <p:txBody>
          <a:bodyPr vert="horz" lIns="91440" tIns="45720" rIns="91440" bIns="45720" rtlCol="0">
            <a:normAutofit/>
          </a:bodyPr>
          <a:lstStyle/>
          <a:p>
            <a:pPr algn="ctr">
              <a:lnSpc>
                <a:spcPct val="90000"/>
              </a:lnSpc>
              <a:spcBef>
                <a:spcPts val="1000"/>
              </a:spcBef>
            </a:pPr>
            <a:endParaRPr lang="en-US" sz="1400" dirty="0">
              <a:solidFill>
                <a:prstClr val="white"/>
              </a:solidFill>
              <a:latin typeface="Calibri"/>
            </a:endParaRPr>
          </a:p>
        </p:txBody>
      </p:sp>
      <p:sp>
        <p:nvSpPr>
          <p:cNvPr id="3" name="ZoneTexte 2">
            <a:extLst>
              <a:ext uri="{FF2B5EF4-FFF2-40B4-BE49-F238E27FC236}">
                <a16:creationId xmlns:a16="http://schemas.microsoft.com/office/drawing/2014/main" id="{775A997C-8194-4B08-BB3E-D1F92744FD2D}"/>
              </a:ext>
            </a:extLst>
          </p:cNvPr>
          <p:cNvSpPr txBox="1"/>
          <p:nvPr/>
        </p:nvSpPr>
        <p:spPr>
          <a:xfrm>
            <a:off x="351693" y="750081"/>
            <a:ext cx="11234056" cy="4401205"/>
          </a:xfrm>
          <a:prstGeom prst="rect">
            <a:avLst/>
          </a:prstGeom>
          <a:noFill/>
        </p:spPr>
        <p:txBody>
          <a:bodyPr wrap="square" rtlCol="0">
            <a:spAutoFit/>
          </a:bodyPr>
          <a:lstStyle/>
          <a:p>
            <a:r>
              <a:rPr lang="fr-FR" sz="2800" dirty="0">
                <a:solidFill>
                  <a:prstClr val="black"/>
                </a:solidFill>
                <a:latin typeface="Arial" panose="020B0604020202020204" pitchFamily="34" charset="0"/>
                <a:cs typeface="Arial" panose="020B0604020202020204" pitchFamily="34" charset="0"/>
              </a:rPr>
              <a:t>Licence 3 : 22 H</a:t>
            </a:r>
          </a:p>
          <a:p>
            <a:endParaRPr lang="fr-FR" sz="2800" dirty="0">
              <a:solidFill>
                <a:prstClr val="black"/>
              </a:solidFill>
              <a:latin typeface="Arial" panose="020B0604020202020204" pitchFamily="34" charset="0"/>
              <a:cs typeface="Arial" panose="020B0604020202020204" pitchFamily="34" charset="0"/>
            </a:endParaRPr>
          </a:p>
          <a:p>
            <a:r>
              <a:rPr lang="fr-FR" sz="2800" dirty="0">
                <a:solidFill>
                  <a:prstClr val="black"/>
                </a:solidFill>
                <a:latin typeface="Arial" panose="020B0604020202020204" pitchFamily="34" charset="0"/>
                <a:cs typeface="Arial" panose="020B0604020202020204" pitchFamily="34" charset="0"/>
              </a:rPr>
              <a:t>Initiation à la comptabilité et préparation à la fiscalité</a:t>
            </a:r>
          </a:p>
          <a:p>
            <a:endParaRPr lang="fr-FR" sz="2800" dirty="0">
              <a:solidFill>
                <a:prstClr val="black"/>
              </a:solidFill>
              <a:latin typeface="Arial" panose="020B0604020202020204" pitchFamily="34" charset="0"/>
              <a:cs typeface="Arial" panose="020B0604020202020204" pitchFamily="34" charset="0"/>
            </a:endParaRPr>
          </a:p>
          <a:p>
            <a:r>
              <a:rPr lang="fr-FR" sz="2800" dirty="0">
                <a:solidFill>
                  <a:prstClr val="black"/>
                </a:solidFill>
                <a:latin typeface="Arial" panose="020B0604020202020204" pitchFamily="34" charset="0"/>
                <a:cs typeface="Arial" panose="020B0604020202020204" pitchFamily="34" charset="0"/>
              </a:rPr>
              <a:t>Objectif : </a:t>
            </a:r>
          </a:p>
          <a:p>
            <a:r>
              <a:rPr lang="fr-FR" sz="2800" dirty="0">
                <a:solidFill>
                  <a:prstClr val="black"/>
                </a:solidFill>
                <a:latin typeface="Arial" panose="020B0604020202020204" pitchFamily="34" charset="0"/>
                <a:cs typeface="Arial" panose="020B0604020202020204" pitchFamily="34" charset="0"/>
              </a:rPr>
              <a:t>- Approche des principes comptables – Normes internationales</a:t>
            </a:r>
          </a:p>
          <a:p>
            <a:r>
              <a:rPr lang="fr-FR" sz="2800" dirty="0">
                <a:solidFill>
                  <a:prstClr val="black"/>
                </a:solidFill>
                <a:latin typeface="Arial" panose="020B0604020202020204" pitchFamily="34" charset="0"/>
                <a:cs typeface="Arial" panose="020B0604020202020204" pitchFamily="34" charset="0"/>
              </a:rPr>
              <a:t>- Analyse du PCG</a:t>
            </a:r>
          </a:p>
          <a:p>
            <a:pPr algn="just"/>
            <a:r>
              <a:rPr lang="fr-FR" sz="2800" dirty="0">
                <a:solidFill>
                  <a:prstClr val="black"/>
                </a:solidFill>
                <a:latin typeface="Arial" panose="020B0604020202020204" pitchFamily="34" charset="0"/>
                <a:cs typeface="Arial" panose="020B0604020202020204" pitchFamily="34" charset="0"/>
              </a:rPr>
              <a:t>- Se familiariser avec les états de synthèse (Bilan + Compte de résultat + Annexes)</a:t>
            </a:r>
          </a:p>
          <a:p>
            <a:endParaRPr lang="fr-FR" sz="2800" dirty="0">
              <a:solidFill>
                <a:prstClr val="black"/>
              </a:solidFill>
              <a:latin typeface="Calibri"/>
            </a:endParaRPr>
          </a:p>
        </p:txBody>
      </p:sp>
    </p:spTree>
    <p:extLst>
      <p:ext uri="{BB962C8B-B14F-4D97-AF65-F5344CB8AC3E}">
        <p14:creationId xmlns:p14="http://schemas.microsoft.com/office/powerpoint/2010/main" val="37142226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7E773EB-1EC1-4E49-9DE2-E6F4604972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391"/>
            <a:ext cx="12192000" cy="1943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a:extLst>
              <a:ext uri="{FF2B5EF4-FFF2-40B4-BE49-F238E27FC236}">
                <a16:creationId xmlns:a16="http://schemas.microsoft.com/office/drawing/2014/main" id="{55455007-8AF7-4CFF-8B0D-381E697B6724}"/>
              </a:ext>
            </a:extLst>
          </p:cNvPr>
          <p:cNvSpPr>
            <a:spLocks noGrp="1"/>
          </p:cNvSpPr>
          <p:nvPr>
            <p:ph type="title"/>
          </p:nvPr>
        </p:nvSpPr>
        <p:spPr>
          <a:xfrm>
            <a:off x="391378" y="320675"/>
            <a:ext cx="11407487" cy="1325563"/>
          </a:xfrm>
        </p:spPr>
        <p:txBody>
          <a:bodyPr>
            <a:normAutofit fontScale="90000"/>
          </a:bodyPr>
          <a:lstStyle/>
          <a:p>
            <a:pPr lvl="0"/>
            <a:r>
              <a:rPr lang="fr-FR" sz="5400" dirty="0"/>
              <a:t>Citer les différents documents comptables </a:t>
            </a:r>
          </a:p>
        </p:txBody>
      </p:sp>
      <p:graphicFrame>
        <p:nvGraphicFramePr>
          <p:cNvPr id="5" name="Espace réservé du contenu 2">
            <a:extLst>
              <a:ext uri="{FF2B5EF4-FFF2-40B4-BE49-F238E27FC236}">
                <a16:creationId xmlns:a16="http://schemas.microsoft.com/office/drawing/2014/main" id="{0C899C7D-CFDA-4D32-B2E9-07B40C3BB1B2}"/>
              </a:ext>
            </a:extLst>
          </p:cNvPr>
          <p:cNvGraphicFramePr>
            <a:graphicFrameLocks noGrp="1"/>
          </p:cNvGraphicFramePr>
          <p:nvPr>
            <p:ph idx="1"/>
            <p:extLst>
              <p:ext uri="{D42A27DB-BD31-4B8C-83A1-F6EECF244321}">
                <p14:modId xmlns:p14="http://schemas.microsoft.com/office/powerpoint/2010/main" val="2901586008"/>
              </p:ext>
            </p:extLst>
          </p:nvPr>
        </p:nvGraphicFramePr>
        <p:xfrm>
          <a:off x="391379" y="1976293"/>
          <a:ext cx="11407487"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49958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14">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41248" y="548640"/>
            <a:ext cx="3600860" cy="5431536"/>
          </a:xfrm>
        </p:spPr>
        <p:txBody>
          <a:bodyPr vert="horz" lIns="91440" tIns="45720" rIns="91440" bIns="45720" rtlCol="0" anchor="ctr">
            <a:normAutofit/>
          </a:bodyPr>
          <a:lstStyle/>
          <a:p>
            <a:r>
              <a:rPr lang="en-US" sz="4200" b="0" i="0" kern="1200" cap="all">
                <a:solidFill>
                  <a:schemeClr val="tx1"/>
                </a:solidFill>
                <a:effectLst/>
                <a:latin typeface="+mj-lt"/>
                <a:ea typeface="+mj-ea"/>
                <a:cs typeface="+mj-cs"/>
              </a:rPr>
              <a:t>La comptabilité et le langage</a:t>
            </a:r>
            <a:br>
              <a:rPr lang="en-US" sz="4200" b="0" i="0" kern="1200" cap="all">
                <a:solidFill>
                  <a:schemeClr val="tx1"/>
                </a:solidFill>
                <a:effectLst/>
                <a:latin typeface="+mj-lt"/>
                <a:ea typeface="+mj-ea"/>
                <a:cs typeface="+mj-cs"/>
              </a:rPr>
            </a:br>
            <a:br>
              <a:rPr lang="en-US" sz="4200" b="0" i="0" kern="1200" cap="all">
                <a:solidFill>
                  <a:schemeClr val="tx1"/>
                </a:solidFill>
                <a:effectLst/>
                <a:latin typeface="+mj-lt"/>
                <a:ea typeface="+mj-ea"/>
                <a:cs typeface="+mj-cs"/>
              </a:rPr>
            </a:br>
            <a:r>
              <a:rPr lang="en-US" sz="4200" kern="1200">
                <a:solidFill>
                  <a:schemeClr val="tx1"/>
                </a:solidFill>
                <a:latin typeface="+mj-lt"/>
                <a:ea typeface="+mj-ea"/>
                <a:cs typeface="+mj-cs"/>
              </a:rPr>
              <a:t>Exemple</a:t>
            </a:r>
          </a:p>
        </p:txBody>
      </p:sp>
      <p:sp>
        <p:nvSpPr>
          <p:cNvPr id="26"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oneTexte 9">
            <a:extLst>
              <a:ext uri="{FF2B5EF4-FFF2-40B4-BE49-F238E27FC236}">
                <a16:creationId xmlns:a16="http://schemas.microsoft.com/office/drawing/2014/main" id="{2104DD9E-7F53-465D-8561-41BB61362ACA}"/>
              </a:ext>
            </a:extLst>
          </p:cNvPr>
          <p:cNvSpPr txBox="1"/>
          <p:nvPr/>
        </p:nvSpPr>
        <p:spPr>
          <a:xfrm>
            <a:off x="5126418" y="552091"/>
            <a:ext cx="6224335" cy="5431536"/>
          </a:xfrm>
          <a:prstGeom prst="rect">
            <a:avLst/>
          </a:prstGeom>
        </p:spPr>
        <p:txBody>
          <a:bodyPr vert="horz" lIns="91440" tIns="45720" rIns="91440" bIns="45720" rtlCol="0" anchor="ctr">
            <a:normAutofit/>
          </a:bodyPr>
          <a:lstStyle/>
          <a:p>
            <a:pPr marL="228600" indent="-228600">
              <a:lnSpc>
                <a:spcPct val="90000"/>
              </a:lnSpc>
              <a:spcAft>
                <a:spcPts val="600"/>
              </a:spcAft>
              <a:buFont typeface="Arial" panose="020B0604020202020204" pitchFamily="34" charset="0"/>
              <a:buChar char="•"/>
            </a:pPr>
            <a:r>
              <a:rPr lang="en-US" sz="2200"/>
              <a:t>Les achats de marchandises</a:t>
            </a:r>
          </a:p>
          <a:p>
            <a:pPr marL="228600" indent="-228600">
              <a:lnSpc>
                <a:spcPct val="90000"/>
              </a:lnSpc>
              <a:spcAft>
                <a:spcPts val="600"/>
              </a:spcAft>
              <a:buFont typeface="Arial" panose="020B0604020202020204" pitchFamily="34" charset="0"/>
              <a:buChar char="•"/>
            </a:pPr>
            <a:r>
              <a:rPr lang="en-US" sz="2200"/>
              <a:t>Achat de carburant 			</a:t>
            </a:r>
          </a:p>
          <a:p>
            <a:pPr marL="228600" indent="-228600">
              <a:lnSpc>
                <a:spcPct val="90000"/>
              </a:lnSpc>
              <a:spcAft>
                <a:spcPts val="600"/>
              </a:spcAft>
              <a:buFont typeface="Arial" panose="020B0604020202020204" pitchFamily="34" charset="0"/>
              <a:buChar char="•"/>
            </a:pPr>
            <a:r>
              <a:rPr lang="en-US" sz="2200"/>
              <a:t>Un rabais</a:t>
            </a:r>
          </a:p>
          <a:p>
            <a:pPr marL="228600" indent="-228600">
              <a:lnSpc>
                <a:spcPct val="90000"/>
              </a:lnSpc>
              <a:spcAft>
                <a:spcPts val="600"/>
              </a:spcAft>
              <a:buFont typeface="Arial" panose="020B0604020202020204" pitchFamily="34" charset="0"/>
              <a:buChar char="•"/>
            </a:pPr>
            <a:r>
              <a:rPr lang="en-US" sz="2200"/>
              <a:t>Les charges financières / les produits financiers</a:t>
            </a:r>
          </a:p>
          <a:p>
            <a:pPr marL="228600" indent="-228600">
              <a:lnSpc>
                <a:spcPct val="90000"/>
              </a:lnSpc>
              <a:spcAft>
                <a:spcPts val="600"/>
              </a:spcAft>
              <a:buFont typeface="Arial" panose="020B0604020202020204" pitchFamily="34" charset="0"/>
              <a:buChar char="•"/>
            </a:pPr>
            <a:r>
              <a:rPr lang="en-US" sz="2200"/>
              <a:t>La sous-traitance</a:t>
            </a:r>
          </a:p>
          <a:p>
            <a:pPr marL="228600" indent="-228600">
              <a:lnSpc>
                <a:spcPct val="90000"/>
              </a:lnSpc>
              <a:spcAft>
                <a:spcPts val="600"/>
              </a:spcAft>
              <a:buFont typeface="Arial" panose="020B0604020202020204" pitchFamily="34" charset="0"/>
              <a:buChar char="•"/>
            </a:pPr>
            <a:r>
              <a:rPr lang="en-US" sz="2200"/>
              <a:t>L’acquisition d’actions</a:t>
            </a:r>
          </a:p>
          <a:p>
            <a:pPr marL="228600" indent="-228600">
              <a:lnSpc>
                <a:spcPct val="90000"/>
              </a:lnSpc>
              <a:spcAft>
                <a:spcPts val="600"/>
              </a:spcAft>
              <a:buFont typeface="Arial" panose="020B0604020202020204" pitchFamily="34" charset="0"/>
              <a:buChar char="•"/>
            </a:pPr>
            <a:r>
              <a:rPr lang="en-US" sz="2200"/>
              <a:t>Le CICE / Le PAS </a:t>
            </a:r>
          </a:p>
          <a:p>
            <a:pPr marL="228600" indent="-228600">
              <a:lnSpc>
                <a:spcPct val="90000"/>
              </a:lnSpc>
              <a:spcAft>
                <a:spcPts val="600"/>
              </a:spcAft>
              <a:buFont typeface="Arial" panose="020B0604020202020204" pitchFamily="34" charset="0"/>
              <a:buChar char="•"/>
            </a:pPr>
            <a:endParaRPr lang="en-US" sz="2200"/>
          </a:p>
          <a:p>
            <a:pPr marL="228600" indent="-228600">
              <a:lnSpc>
                <a:spcPct val="90000"/>
              </a:lnSpc>
              <a:spcAft>
                <a:spcPts val="600"/>
              </a:spcAft>
              <a:buFont typeface="Arial" panose="020B0604020202020204" pitchFamily="34" charset="0"/>
              <a:buChar char="•"/>
            </a:pPr>
            <a:r>
              <a:rPr lang="en-US" sz="2200"/>
              <a:t>L’ANC et l’exceptionnel				</a:t>
            </a:r>
          </a:p>
        </p:txBody>
      </p:sp>
    </p:spTree>
    <p:extLst>
      <p:ext uri="{BB962C8B-B14F-4D97-AF65-F5344CB8AC3E}">
        <p14:creationId xmlns:p14="http://schemas.microsoft.com/office/powerpoint/2010/main" val="3185261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57363FD-7E77-4145-9483-331A807A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6802" cy="6858000"/>
          </a:xfrm>
          <a:prstGeom prst="rect">
            <a:avLst/>
          </a:prstGeom>
          <a:gradFill flip="none" rotWithShape="1">
            <a:gsLst>
              <a:gs pos="28000">
                <a:schemeClr val="bg2">
                  <a:alpha val="84000"/>
                </a:schemeClr>
              </a:gs>
              <a:gs pos="74000">
                <a:schemeClr val="bg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55455007-8AF7-4CFF-8B0D-381E697B6724}"/>
              </a:ext>
            </a:extLst>
          </p:cNvPr>
          <p:cNvSpPr>
            <a:spLocks noGrp="1"/>
          </p:cNvSpPr>
          <p:nvPr>
            <p:ph type="title"/>
          </p:nvPr>
        </p:nvSpPr>
        <p:spPr>
          <a:xfrm>
            <a:off x="838200" y="365125"/>
            <a:ext cx="10515600" cy="1325563"/>
          </a:xfrm>
        </p:spPr>
        <p:txBody>
          <a:bodyPr>
            <a:normAutofit/>
          </a:bodyPr>
          <a:lstStyle/>
          <a:p>
            <a:pPr lvl="0"/>
            <a:r>
              <a:rPr lang="fr-FR"/>
              <a:t>Préconisations</a:t>
            </a:r>
          </a:p>
        </p:txBody>
      </p:sp>
      <p:graphicFrame>
        <p:nvGraphicFramePr>
          <p:cNvPr id="5" name="Espace réservé du contenu 2">
            <a:extLst>
              <a:ext uri="{FF2B5EF4-FFF2-40B4-BE49-F238E27FC236}">
                <a16:creationId xmlns:a16="http://schemas.microsoft.com/office/drawing/2014/main" id="{0C899C7D-CFDA-4D32-B2E9-07B40C3BB1B2}"/>
              </a:ext>
            </a:extLst>
          </p:cNvPr>
          <p:cNvGraphicFramePr>
            <a:graphicFrameLocks noGrp="1"/>
          </p:cNvGraphicFramePr>
          <p:nvPr>
            <p:ph idx="1"/>
            <p:extLst>
              <p:ext uri="{D42A27DB-BD31-4B8C-83A1-F6EECF244321}">
                <p14:modId xmlns:p14="http://schemas.microsoft.com/office/powerpoint/2010/main" val="1933785014"/>
              </p:ext>
            </p:extLst>
          </p:nvPr>
        </p:nvGraphicFramePr>
        <p:xfrm>
          <a:off x="838199" y="1291905"/>
          <a:ext cx="10923165" cy="48850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196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14">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55455007-8AF7-4CFF-8B0D-381E697B6724}"/>
              </a:ext>
            </a:extLst>
          </p:cNvPr>
          <p:cNvSpPr>
            <a:spLocks noGrp="1"/>
          </p:cNvSpPr>
          <p:nvPr>
            <p:ph type="title"/>
          </p:nvPr>
        </p:nvSpPr>
        <p:spPr>
          <a:xfrm>
            <a:off x="838200" y="365125"/>
            <a:ext cx="10515600" cy="1325563"/>
          </a:xfrm>
        </p:spPr>
        <p:txBody>
          <a:bodyPr>
            <a:normAutofit/>
          </a:bodyPr>
          <a:lstStyle/>
          <a:p>
            <a:pPr lvl="0"/>
            <a:r>
              <a:rPr lang="fr-FR"/>
              <a:t>Préconisations</a:t>
            </a:r>
          </a:p>
        </p:txBody>
      </p:sp>
      <p:graphicFrame>
        <p:nvGraphicFramePr>
          <p:cNvPr id="5" name="Espace réservé du contenu 2">
            <a:extLst>
              <a:ext uri="{FF2B5EF4-FFF2-40B4-BE49-F238E27FC236}">
                <a16:creationId xmlns:a16="http://schemas.microsoft.com/office/drawing/2014/main" id="{0C899C7D-CFDA-4D32-B2E9-07B40C3BB1B2}"/>
              </a:ext>
            </a:extLst>
          </p:cNvPr>
          <p:cNvGraphicFramePr>
            <a:graphicFrameLocks noGrp="1"/>
          </p:cNvGraphicFramePr>
          <p:nvPr>
            <p:ph idx="1"/>
            <p:extLst>
              <p:ext uri="{D42A27DB-BD31-4B8C-83A1-F6EECF244321}">
                <p14:modId xmlns:p14="http://schemas.microsoft.com/office/powerpoint/2010/main" val="89515418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463787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22639" y="4760132"/>
            <a:ext cx="12040730" cy="1777829"/>
          </a:xfrm>
          <a:prstGeom prst="ellipse">
            <a:avLst/>
          </a:prstGeom>
        </p:spPr>
        <p:txBody>
          <a:bodyPr vert="horz" lIns="91440" tIns="45720" rIns="91440" bIns="45720" rtlCol="0" anchor="ctr">
            <a:normAutofit/>
          </a:bodyPr>
          <a:lstStyle/>
          <a:p>
            <a:pPr algn="just"/>
            <a:r>
              <a:rPr lang="en-US" sz="2700" dirty="0">
                <a:latin typeface="Arial" panose="020B0604020202020204" pitchFamily="34" charset="0"/>
                <a:cs typeface="Arial" panose="020B0604020202020204" pitchFamily="34" charset="0"/>
              </a:rPr>
              <a:t>Le PCG – Une </a:t>
            </a:r>
            <a:r>
              <a:rPr lang="en-US" sz="2700" dirty="0" err="1">
                <a:latin typeface="Arial" panose="020B0604020202020204" pitchFamily="34" charset="0"/>
                <a:cs typeface="Arial" panose="020B0604020202020204" pitchFamily="34" charset="0"/>
              </a:rPr>
              <a:t>merveille</a:t>
            </a:r>
            <a:r>
              <a:rPr lang="en-US" sz="2700" dirty="0">
                <a:latin typeface="Arial" panose="020B0604020202020204" pitchFamily="34" charset="0"/>
                <a:cs typeface="Arial" panose="020B0604020202020204" pitchFamily="34" charset="0"/>
              </a:rPr>
              <a:t> et des </a:t>
            </a:r>
            <a:r>
              <a:rPr lang="en-US" sz="2700" dirty="0" err="1">
                <a:latin typeface="Arial" panose="020B0604020202020204" pitchFamily="34" charset="0"/>
                <a:cs typeface="Arial" panose="020B0604020202020204" pitchFamily="34" charset="0"/>
              </a:rPr>
              <a:t>principes</a:t>
            </a:r>
            <a:endParaRPr lang="en-US" sz="2500" dirty="0">
              <a:latin typeface="Arial" panose="020B0604020202020204" pitchFamily="34" charset="0"/>
              <a:cs typeface="Arial" panose="020B0604020202020204" pitchFamily="34" charset="0"/>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0" y="287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12461652"/>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8328" y="303591"/>
            <a:ext cx="4335327" cy="5896743"/>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55455007-8AF7-4CFF-8B0D-381E697B6724}"/>
              </a:ext>
            </a:extLst>
          </p:cNvPr>
          <p:cNvSpPr>
            <a:spLocks noGrp="1"/>
          </p:cNvSpPr>
          <p:nvPr>
            <p:ph type="title"/>
          </p:nvPr>
        </p:nvSpPr>
        <p:spPr>
          <a:xfrm>
            <a:off x="594360" y="637125"/>
            <a:ext cx="3423967" cy="5256371"/>
          </a:xfrm>
        </p:spPr>
        <p:txBody>
          <a:bodyPr>
            <a:normAutofit/>
          </a:bodyPr>
          <a:lstStyle/>
          <a:p>
            <a:r>
              <a:rPr lang="fr-FR" sz="4800" dirty="0">
                <a:solidFill>
                  <a:schemeClr val="bg1"/>
                </a:solidFill>
              </a:rPr>
              <a:t>Les principes</a:t>
            </a:r>
          </a:p>
        </p:txBody>
      </p:sp>
      <p:graphicFrame>
        <p:nvGraphicFramePr>
          <p:cNvPr id="5" name="Espace réservé du contenu 2">
            <a:extLst>
              <a:ext uri="{FF2B5EF4-FFF2-40B4-BE49-F238E27FC236}">
                <a16:creationId xmlns:a16="http://schemas.microsoft.com/office/drawing/2014/main" id="{0C899C7D-CFDA-4D32-B2E9-07B40C3BB1B2}"/>
              </a:ext>
            </a:extLst>
          </p:cNvPr>
          <p:cNvGraphicFramePr>
            <a:graphicFrameLocks noGrp="1"/>
          </p:cNvGraphicFramePr>
          <p:nvPr>
            <p:ph idx="1"/>
          </p:nvPr>
        </p:nvGraphicFramePr>
        <p:xfrm>
          <a:off x="5166985" y="303591"/>
          <a:ext cx="6588691" cy="58967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747541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Image </a:t>
            </a:r>
            <a:r>
              <a:rPr lang="en-US" b="0" i="0" kern="1200" cap="all" dirty="0" err="1">
                <a:solidFill>
                  <a:schemeClr val="tx1"/>
                </a:solidFill>
                <a:effectLst/>
                <a:latin typeface="+mj-lt"/>
                <a:ea typeface="+mj-ea"/>
                <a:cs typeface="+mj-cs"/>
              </a:rPr>
              <a:t>fidèle</a:t>
            </a:r>
            <a:endParaRPr lang="en-US" b="0" i="0" kern="1200" cap="all" dirty="0">
              <a:solidFill>
                <a:schemeClr val="tx1"/>
              </a:solidFill>
              <a:effectLst/>
              <a:latin typeface="+mj-lt"/>
              <a:ea typeface="+mj-ea"/>
              <a:cs typeface="+mj-cs"/>
            </a:endParaRP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en-US" sz="2400" dirty="0">
                <a:latin typeface="Arial" panose="020B0604020202020204" pitchFamily="34" charset="0"/>
                <a:cs typeface="Arial" panose="020B0604020202020204" pitchFamily="34" charset="0"/>
              </a:rPr>
              <a:t>Art.121-1 La </a:t>
            </a:r>
            <a:r>
              <a:rPr lang="en-US" sz="2400" dirty="0" err="1">
                <a:latin typeface="Arial" panose="020B0604020202020204" pitchFamily="34" charset="0"/>
                <a:cs typeface="Arial" panose="020B0604020202020204" pitchFamily="34" charset="0"/>
              </a:rPr>
              <a:t>comptabilité</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est</a:t>
            </a:r>
            <a:r>
              <a:rPr lang="en-US" sz="2400" dirty="0">
                <a:latin typeface="Arial" panose="020B0604020202020204" pitchFamily="34" charset="0"/>
                <a:cs typeface="Arial" panose="020B0604020202020204" pitchFamily="34" charset="0"/>
              </a:rPr>
              <a:t> un </a:t>
            </a:r>
            <a:r>
              <a:rPr lang="en-US" sz="2400" dirty="0" err="1">
                <a:latin typeface="Arial" panose="020B0604020202020204" pitchFamily="34" charset="0"/>
                <a:cs typeface="Arial" panose="020B0604020202020204" pitchFamily="34" charset="0"/>
              </a:rPr>
              <a:t>systèm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d'organisation</a:t>
            </a:r>
            <a:r>
              <a:rPr lang="en-US" sz="2400" dirty="0">
                <a:latin typeface="Arial" panose="020B0604020202020204" pitchFamily="34" charset="0"/>
                <a:cs typeface="Arial" panose="020B0604020202020204" pitchFamily="34" charset="0"/>
              </a:rPr>
              <a:t> de </a:t>
            </a:r>
            <a:r>
              <a:rPr lang="en-US" sz="2400" dirty="0" err="1">
                <a:latin typeface="Arial" panose="020B0604020202020204" pitchFamily="34" charset="0"/>
                <a:cs typeface="Arial" panose="020B0604020202020204" pitchFamily="34" charset="0"/>
              </a:rPr>
              <a:t>l'information</a:t>
            </a:r>
            <a:r>
              <a:rPr lang="en-US" sz="2400" dirty="0">
                <a:latin typeface="Arial" panose="020B0604020202020204" pitchFamily="34" charset="0"/>
                <a:cs typeface="Arial" panose="020B0604020202020204" pitchFamily="34" charset="0"/>
              </a:rPr>
              <a:t> financière </a:t>
            </a:r>
            <a:r>
              <a:rPr lang="en-US" sz="2400" dirty="0" err="1">
                <a:latin typeface="Arial" panose="020B0604020202020204" pitchFamily="34" charset="0"/>
                <a:cs typeface="Arial" panose="020B0604020202020204" pitchFamily="34" charset="0"/>
              </a:rPr>
              <a:t>permettant</a:t>
            </a:r>
            <a:r>
              <a:rPr lang="en-US" sz="2400" dirty="0">
                <a:latin typeface="Arial" panose="020B0604020202020204" pitchFamily="34" charset="0"/>
                <a:cs typeface="Arial" panose="020B0604020202020204" pitchFamily="34" charset="0"/>
              </a:rPr>
              <a:t> de </a:t>
            </a:r>
            <a:r>
              <a:rPr lang="en-US" sz="2400" dirty="0" err="1">
                <a:latin typeface="Arial" panose="020B0604020202020204" pitchFamily="34" charset="0"/>
                <a:cs typeface="Arial" panose="020B0604020202020204" pitchFamily="34" charset="0"/>
              </a:rPr>
              <a:t>saisir</a:t>
            </a:r>
            <a:r>
              <a:rPr lang="en-US" sz="2400" dirty="0">
                <a:latin typeface="Arial" panose="020B0604020202020204" pitchFamily="34" charset="0"/>
                <a:cs typeface="Arial" panose="020B0604020202020204" pitchFamily="34" charset="0"/>
              </a:rPr>
              <a:t>, classer, </a:t>
            </a:r>
            <a:r>
              <a:rPr lang="en-US" sz="2400" dirty="0" err="1">
                <a:latin typeface="Arial" panose="020B0604020202020204" pitchFamily="34" charset="0"/>
                <a:cs typeface="Arial" panose="020B0604020202020204" pitchFamily="34" charset="0"/>
              </a:rPr>
              <a:t>enregistrer</a:t>
            </a:r>
            <a:r>
              <a:rPr lang="en-US" sz="2400" dirty="0">
                <a:latin typeface="Arial" panose="020B0604020202020204" pitchFamily="34" charset="0"/>
                <a:cs typeface="Arial" panose="020B0604020202020204" pitchFamily="34" charset="0"/>
              </a:rPr>
              <a:t> des </a:t>
            </a:r>
            <a:r>
              <a:rPr lang="en-US" sz="2400" dirty="0" err="1">
                <a:latin typeface="Arial" panose="020B0604020202020204" pitchFamily="34" charset="0"/>
                <a:cs typeface="Arial" panose="020B0604020202020204" pitchFamily="34" charset="0"/>
              </a:rPr>
              <a:t>données</a:t>
            </a:r>
            <a:r>
              <a:rPr lang="en-US" sz="2400" dirty="0">
                <a:latin typeface="Arial" panose="020B0604020202020204" pitchFamily="34" charset="0"/>
                <a:cs typeface="Arial" panose="020B0604020202020204" pitchFamily="34" charset="0"/>
              </a:rPr>
              <a:t> de base </a:t>
            </a:r>
            <a:r>
              <a:rPr lang="en-US" sz="2400" dirty="0" err="1">
                <a:latin typeface="Arial" panose="020B0604020202020204" pitchFamily="34" charset="0"/>
                <a:cs typeface="Arial" panose="020B0604020202020204" pitchFamily="34" charset="0"/>
              </a:rPr>
              <a:t>chiffrées</a:t>
            </a:r>
            <a:r>
              <a:rPr lang="en-US" sz="2400" dirty="0">
                <a:latin typeface="Arial" panose="020B0604020202020204" pitchFamily="34" charset="0"/>
                <a:cs typeface="Arial" panose="020B0604020202020204" pitchFamily="34" charset="0"/>
              </a:rPr>
              <a:t> et </a:t>
            </a:r>
            <a:r>
              <a:rPr lang="en-US" sz="2400" dirty="0" err="1">
                <a:latin typeface="Arial" panose="020B0604020202020204" pitchFamily="34" charset="0"/>
                <a:cs typeface="Arial" panose="020B0604020202020204" pitchFamily="34" charset="0"/>
              </a:rPr>
              <a:t>présenter</a:t>
            </a:r>
            <a:r>
              <a:rPr lang="en-US" sz="2400" dirty="0">
                <a:latin typeface="Arial" panose="020B0604020202020204" pitchFamily="34" charset="0"/>
                <a:cs typeface="Arial" panose="020B0604020202020204" pitchFamily="34" charset="0"/>
              </a:rPr>
              <a:t> des </a:t>
            </a:r>
            <a:r>
              <a:rPr lang="en-US" sz="2400" dirty="0" err="1">
                <a:latin typeface="Arial" panose="020B0604020202020204" pitchFamily="34" charset="0"/>
                <a:cs typeface="Arial" panose="020B0604020202020204" pitchFamily="34" charset="0"/>
              </a:rPr>
              <a:t>états</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reflétan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une</a:t>
            </a:r>
            <a:r>
              <a:rPr lang="en-US" sz="2400" dirty="0">
                <a:latin typeface="Arial" panose="020B0604020202020204" pitchFamily="34" charset="0"/>
                <a:cs typeface="Arial" panose="020B0604020202020204" pitchFamily="34" charset="0"/>
              </a:rPr>
              <a:t> image </a:t>
            </a:r>
            <a:r>
              <a:rPr lang="en-US" sz="2400" dirty="0" err="1">
                <a:latin typeface="Arial" panose="020B0604020202020204" pitchFamily="34" charset="0"/>
                <a:cs typeface="Arial" panose="020B0604020202020204" pitchFamily="34" charset="0"/>
              </a:rPr>
              <a:t>fidèle</a:t>
            </a:r>
            <a:r>
              <a:rPr lang="en-US" sz="2400" dirty="0">
                <a:latin typeface="Arial" panose="020B0604020202020204" pitchFamily="34" charset="0"/>
                <a:cs typeface="Arial" panose="020B0604020202020204" pitchFamily="34" charset="0"/>
              </a:rPr>
              <a:t> du </a:t>
            </a:r>
            <a:r>
              <a:rPr lang="en-US" sz="2400" dirty="0" err="1">
                <a:latin typeface="Arial" panose="020B0604020202020204" pitchFamily="34" charset="0"/>
                <a:cs typeface="Arial" panose="020B0604020202020204" pitchFamily="34" charset="0"/>
              </a:rPr>
              <a:t>patrimoine</a:t>
            </a:r>
            <a:r>
              <a:rPr lang="en-US" sz="2400" dirty="0">
                <a:latin typeface="Arial" panose="020B0604020202020204" pitchFamily="34" charset="0"/>
                <a:cs typeface="Arial" panose="020B0604020202020204" pitchFamily="34" charset="0"/>
              </a:rPr>
              <a:t>, de la situation financière et du </a:t>
            </a:r>
            <a:r>
              <a:rPr lang="en-US" sz="2400" dirty="0" err="1">
                <a:latin typeface="Arial" panose="020B0604020202020204" pitchFamily="34" charset="0"/>
                <a:cs typeface="Arial" panose="020B0604020202020204" pitchFamily="34" charset="0"/>
              </a:rPr>
              <a:t>résultat</a:t>
            </a:r>
            <a:r>
              <a:rPr lang="en-US" sz="2400" dirty="0">
                <a:latin typeface="Arial" panose="020B0604020202020204" pitchFamily="34" charset="0"/>
                <a:cs typeface="Arial" panose="020B0604020202020204" pitchFamily="34" charset="0"/>
              </a:rPr>
              <a:t> de </a:t>
            </a:r>
            <a:r>
              <a:rPr lang="en-US" sz="2400" dirty="0" err="1">
                <a:latin typeface="Arial" panose="020B0604020202020204" pitchFamily="34" charset="0"/>
                <a:cs typeface="Arial" panose="020B0604020202020204" pitchFamily="34" charset="0"/>
              </a:rPr>
              <a:t>l'entité</a:t>
            </a:r>
            <a:r>
              <a:rPr lang="en-US" sz="2400" dirty="0">
                <a:latin typeface="Arial" panose="020B0604020202020204" pitchFamily="34" charset="0"/>
                <a:cs typeface="Arial" panose="020B0604020202020204" pitchFamily="34" charset="0"/>
              </a:rPr>
              <a:t> à la date de </a:t>
            </a:r>
            <a:r>
              <a:rPr lang="en-US" sz="2400" dirty="0" err="1">
                <a:latin typeface="Arial" panose="020B0604020202020204" pitchFamily="34" charset="0"/>
                <a:cs typeface="Arial" panose="020B0604020202020204" pitchFamily="34" charset="0"/>
              </a:rPr>
              <a:t>clôture</a:t>
            </a:r>
            <a:r>
              <a:rPr lang="en-US" sz="2400" dirty="0">
                <a:latin typeface="Arial" panose="020B0604020202020204" pitchFamily="34" charset="0"/>
                <a:cs typeface="Arial" panose="020B0604020202020204" pitchFamily="34" charset="0"/>
              </a:rPr>
              <a:t>.</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 name="ZoneTexte 3">
            <a:extLst>
              <a:ext uri="{FF2B5EF4-FFF2-40B4-BE49-F238E27FC236}">
                <a16:creationId xmlns:a16="http://schemas.microsoft.com/office/drawing/2014/main" id="{B907A768-CC25-4A4B-8C93-DA72B4C4D5E3}"/>
              </a:ext>
            </a:extLst>
          </p:cNvPr>
          <p:cNvSpPr txBox="1"/>
          <p:nvPr/>
        </p:nvSpPr>
        <p:spPr>
          <a:xfrm>
            <a:off x="560673" y="3938277"/>
            <a:ext cx="1083633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4354193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05492" y="1136137"/>
            <a:ext cx="9405891" cy="1002990"/>
          </a:xfrm>
        </p:spPr>
        <p:txBody>
          <a:bodyPr vert="horz" lIns="91440" tIns="45720" rIns="91440" bIns="45720" rtlCol="0" anchor="ctr">
            <a:normAutofit/>
          </a:bodyPr>
          <a:lstStyle/>
          <a:p>
            <a:r>
              <a:rPr lang="en-US" b="0" i="0" kern="1200" cap="all" dirty="0" err="1">
                <a:solidFill>
                  <a:schemeClr val="tx1"/>
                </a:solidFill>
                <a:effectLst/>
                <a:latin typeface="+mj-lt"/>
                <a:ea typeface="+mj-ea"/>
                <a:cs typeface="+mj-cs"/>
              </a:rPr>
              <a:t>Sincèrité</a:t>
            </a:r>
            <a:r>
              <a:rPr lang="en-US" b="0" i="0" kern="1200" cap="all" dirty="0">
                <a:solidFill>
                  <a:schemeClr val="tx1"/>
                </a:solidFill>
                <a:effectLst/>
                <a:latin typeface="+mj-lt"/>
                <a:ea typeface="+mj-ea"/>
                <a:cs typeface="+mj-cs"/>
              </a:rPr>
              <a:t> et </a:t>
            </a:r>
            <a:r>
              <a:rPr lang="en-US" b="0" i="0" kern="1200" cap="all" dirty="0" err="1">
                <a:solidFill>
                  <a:schemeClr val="tx1"/>
                </a:solidFill>
                <a:effectLst/>
                <a:latin typeface="+mj-lt"/>
                <a:ea typeface="+mj-ea"/>
                <a:cs typeface="+mj-cs"/>
              </a:rPr>
              <a:t>régularité</a:t>
            </a:r>
            <a:endParaRPr lang="en-US" b="0" i="0" kern="1200" cap="all" dirty="0">
              <a:solidFill>
                <a:schemeClr val="tx1"/>
              </a:solidFill>
              <a:effectLst/>
              <a:latin typeface="+mj-lt"/>
              <a:ea typeface="+mj-ea"/>
              <a:cs typeface="+mj-cs"/>
            </a:endParaRPr>
          </a:p>
        </p:txBody>
      </p:sp>
      <p:sp>
        <p:nvSpPr>
          <p:cNvPr id="10" name="ZoneTexte 9">
            <a:extLst>
              <a:ext uri="{FF2B5EF4-FFF2-40B4-BE49-F238E27FC236}">
                <a16:creationId xmlns:a16="http://schemas.microsoft.com/office/drawing/2014/main" id="{2104DD9E-7F53-465D-8561-41BB61362ACA}"/>
              </a:ext>
            </a:extLst>
          </p:cNvPr>
          <p:cNvSpPr txBox="1"/>
          <p:nvPr/>
        </p:nvSpPr>
        <p:spPr>
          <a:xfrm>
            <a:off x="1340900" y="1926558"/>
            <a:ext cx="9405891" cy="2403571"/>
          </a:xfrm>
          <a:prstGeom prst="rect">
            <a:avLst/>
          </a:prstGeom>
        </p:spPr>
        <p:txBody>
          <a:bodyPr vert="horz" lIns="91440" tIns="45720" rIns="91440" bIns="45720" rtlCol="0" anchor="t">
            <a:no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000" dirty="0">
                <a:latin typeface="Arial" panose="020B0604020202020204" pitchFamily="34" charset="0"/>
                <a:cs typeface="Arial" panose="020B0604020202020204" pitchFamily="34" charset="0"/>
              </a:rPr>
              <a:t>Art. 121-3 </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000" dirty="0">
                <a:latin typeface="Arial" panose="020B0604020202020204" pitchFamily="34" charset="0"/>
                <a:cs typeface="Arial" panose="020B0604020202020204" pitchFamily="34" charset="0"/>
              </a:rPr>
              <a:t>La comptabilité est conforme aux règles et procédures en vigueur qui sont appliquées avec sincérité afin de traduire la connaissance que les responsables de l'établissement des comptes ont de la réalité et de l'importance relative des événements enregistrés. Dans le cas exceptionnel où l'application d'une règle comptable se révèle impropre à donner une image fidèle, il y est dérogé. La justification et les conséquences de la dérogation sont mentionnées dans l'annexe. </a:t>
            </a:r>
            <a:endParaRPr kumimoji="0" lang="en-US" sz="20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 name="ZoneTexte 3">
            <a:extLst>
              <a:ext uri="{FF2B5EF4-FFF2-40B4-BE49-F238E27FC236}">
                <a16:creationId xmlns:a16="http://schemas.microsoft.com/office/drawing/2014/main" id="{B907A768-CC25-4A4B-8C93-DA72B4C4D5E3}"/>
              </a:ext>
            </a:extLst>
          </p:cNvPr>
          <p:cNvSpPr txBox="1"/>
          <p:nvPr/>
        </p:nvSpPr>
        <p:spPr>
          <a:xfrm>
            <a:off x="560673" y="3938277"/>
            <a:ext cx="1083633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123274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prudence</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400" dirty="0">
                <a:latin typeface="Arial" panose="020B0604020202020204" pitchFamily="34" charset="0"/>
                <a:cs typeface="Arial" panose="020B0604020202020204" pitchFamily="34" charset="0"/>
              </a:rPr>
              <a:t>Art. 121-4 </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400" dirty="0">
                <a:latin typeface="Arial" panose="020B0604020202020204" pitchFamily="34" charset="0"/>
                <a:cs typeface="Arial" panose="020B0604020202020204" pitchFamily="34" charset="0"/>
              </a:rPr>
              <a:t>La comptabilité est établie sur la base d'appréciations prudentes, pour éviter le risque de transfert, sur des périodes à venir, d'incertitudes présentes susceptibles de grever le patrimoine et le résultat de l'entité. </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 name="ZoneTexte 3">
            <a:extLst>
              <a:ext uri="{FF2B5EF4-FFF2-40B4-BE49-F238E27FC236}">
                <a16:creationId xmlns:a16="http://schemas.microsoft.com/office/drawing/2014/main" id="{B907A768-CC25-4A4B-8C93-DA72B4C4D5E3}"/>
              </a:ext>
            </a:extLst>
          </p:cNvPr>
          <p:cNvSpPr txBox="1"/>
          <p:nvPr/>
        </p:nvSpPr>
        <p:spPr>
          <a:xfrm>
            <a:off x="560673" y="3938277"/>
            <a:ext cx="1083633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1272761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101718"/>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PERMANENCE DES METHODES</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392903" y="1892139"/>
            <a:ext cx="9764301" cy="3198056"/>
          </a:xfrm>
          <a:prstGeom prst="rect">
            <a:avLst/>
          </a:prstGeom>
        </p:spPr>
        <p:txBody>
          <a:bodyPr vert="horz" lIns="91440" tIns="45720" rIns="91440" bIns="45720" rtlCol="0" anchor="t">
            <a:no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dirty="0">
                <a:latin typeface="Arial" panose="020B0604020202020204" pitchFamily="34" charset="0"/>
                <a:cs typeface="Arial" panose="020B0604020202020204" pitchFamily="34" charset="0"/>
              </a:rPr>
              <a:t>Art. 121-5 </a:t>
            </a:r>
          </a:p>
          <a:p>
            <a:pPr marR="0" lvl="0" fontAlgn="auto">
              <a:lnSpc>
                <a:spcPct val="120000"/>
              </a:lnSpc>
              <a:spcBef>
                <a:spcPts val="0"/>
              </a:spcBef>
              <a:spcAft>
                <a:spcPts val="600"/>
              </a:spcAft>
              <a:buClr>
                <a:schemeClr val="accent1"/>
              </a:buClr>
              <a:buSzPct val="100000"/>
              <a:tabLst/>
              <a:defRPr/>
            </a:pPr>
            <a:r>
              <a:rPr lang="fr-FR" dirty="0">
                <a:latin typeface="Arial" panose="020B0604020202020204" pitchFamily="34" charset="0"/>
                <a:cs typeface="Arial" panose="020B0604020202020204" pitchFamily="34" charset="0"/>
              </a:rPr>
              <a:t>La cohérence et la comparabilité des informations comptables au cours des périodes successives reposent sur la permanence des méthodes comptables et de la structure du bilan et du compte de résultat. Les méthodes comptables sont les principes, règles et pratiques spécifiques appliqués par une entité lors de l’établissement de ses comptes annuels. Les termes « méthode comptable » s'appliquent : </a:t>
            </a:r>
          </a:p>
          <a:p>
            <a:pPr marR="0" lvl="0" fontAlgn="auto">
              <a:lnSpc>
                <a:spcPct val="120000"/>
              </a:lnSpc>
              <a:spcBef>
                <a:spcPts val="0"/>
              </a:spcBef>
              <a:spcAft>
                <a:spcPts val="600"/>
              </a:spcAft>
              <a:buClr>
                <a:schemeClr val="accent1"/>
              </a:buClr>
              <a:buSzPct val="100000"/>
              <a:tabLst/>
              <a:defRPr/>
            </a:pPr>
            <a:r>
              <a:rPr lang="fr-FR" dirty="0">
                <a:latin typeface="Arial" panose="020B0604020202020204" pitchFamily="34" charset="0"/>
                <a:cs typeface="Arial" panose="020B0604020202020204" pitchFamily="34" charset="0"/>
              </a:rPr>
              <a:t>	- aux méthodes d'évaluation et de comptabilisation; </a:t>
            </a:r>
          </a:p>
          <a:p>
            <a:pPr marR="0" lvl="0" fontAlgn="auto">
              <a:lnSpc>
                <a:spcPct val="120000"/>
              </a:lnSpc>
              <a:spcBef>
                <a:spcPts val="0"/>
              </a:spcBef>
              <a:spcAft>
                <a:spcPts val="600"/>
              </a:spcAft>
              <a:buClr>
                <a:schemeClr val="accent1"/>
              </a:buClr>
              <a:buSzPct val="100000"/>
              <a:tabLst/>
              <a:defRPr/>
            </a:pPr>
            <a:r>
              <a:rPr lang="fr-FR" dirty="0">
                <a:latin typeface="Arial" panose="020B0604020202020204" pitchFamily="34" charset="0"/>
                <a:cs typeface="Arial" panose="020B0604020202020204" pitchFamily="34" charset="0"/>
              </a:rPr>
              <a:t>	- aux méthodes de présentation des comptes.</a:t>
            </a:r>
            <a:endParaRPr kumimoji="0" lang="en-US"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144782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3FB199-37AF-4AEB-91D2-99997345373F}"/>
              </a:ext>
            </a:extLst>
          </p:cNvPr>
          <p:cNvSpPr>
            <a:spLocks noGrp="1"/>
          </p:cNvSpPr>
          <p:nvPr>
            <p:ph type="title"/>
          </p:nvPr>
        </p:nvSpPr>
        <p:spPr>
          <a:xfrm>
            <a:off x="609600" y="274638"/>
            <a:ext cx="10972800" cy="918895"/>
          </a:xfrm>
        </p:spPr>
        <p:txBody>
          <a:bodyPr vert="horz" lIns="91440" tIns="45720" rIns="91440" bIns="45720" rtlCol="0" anchor="ctr">
            <a:normAutofit/>
          </a:bodyPr>
          <a:lstStyle/>
          <a:p>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évisionnel</a:t>
            </a:r>
            <a:endParaRPr lang="en-US" dirty="0">
              <a:latin typeface="Arial" panose="020B0604020202020204" pitchFamily="34" charset="0"/>
              <a:cs typeface="Arial" panose="020B0604020202020204" pitchFamily="34" charset="0"/>
            </a:endParaRPr>
          </a:p>
        </p:txBody>
      </p:sp>
      <p:sp>
        <p:nvSpPr>
          <p:cNvPr id="4" name="ZoneTexte 3">
            <a:extLst>
              <a:ext uri="{FF2B5EF4-FFF2-40B4-BE49-F238E27FC236}">
                <a16:creationId xmlns:a16="http://schemas.microsoft.com/office/drawing/2014/main" id="{46D878E7-F5C5-452B-937D-8840816B6ECF}"/>
              </a:ext>
            </a:extLst>
          </p:cNvPr>
          <p:cNvSpPr txBox="1"/>
          <p:nvPr/>
        </p:nvSpPr>
        <p:spPr>
          <a:xfrm>
            <a:off x="2843428" y="6003837"/>
            <a:ext cx="6505071" cy="405405"/>
          </a:xfrm>
          <a:prstGeom prst="rect">
            <a:avLst/>
          </a:prstGeom>
        </p:spPr>
        <p:txBody>
          <a:bodyPr vert="horz" lIns="91440" tIns="45720" rIns="91440" bIns="45720" rtlCol="0">
            <a:normAutofit/>
          </a:bodyPr>
          <a:lstStyle/>
          <a:p>
            <a:pPr algn="ctr">
              <a:lnSpc>
                <a:spcPct val="90000"/>
              </a:lnSpc>
              <a:spcBef>
                <a:spcPts val="1000"/>
              </a:spcBef>
            </a:pPr>
            <a:endParaRPr lang="en-US" sz="1400" dirty="0">
              <a:solidFill>
                <a:prstClr val="white"/>
              </a:solidFill>
              <a:latin typeface="Calibri"/>
            </a:endParaRPr>
          </a:p>
        </p:txBody>
      </p:sp>
      <p:graphicFrame>
        <p:nvGraphicFramePr>
          <p:cNvPr id="3" name="Tableau 2">
            <a:extLst>
              <a:ext uri="{FF2B5EF4-FFF2-40B4-BE49-F238E27FC236}">
                <a16:creationId xmlns:a16="http://schemas.microsoft.com/office/drawing/2014/main" id="{90A39BD7-E179-4570-8079-E6A295B49267}"/>
              </a:ext>
            </a:extLst>
          </p:cNvPr>
          <p:cNvGraphicFramePr>
            <a:graphicFrameLocks noGrp="1"/>
          </p:cNvGraphicFramePr>
          <p:nvPr>
            <p:extLst>
              <p:ext uri="{D42A27DB-BD31-4B8C-83A1-F6EECF244321}">
                <p14:modId xmlns:p14="http://schemas.microsoft.com/office/powerpoint/2010/main" val="1061578436"/>
              </p:ext>
            </p:extLst>
          </p:nvPr>
        </p:nvGraphicFramePr>
        <p:xfrm>
          <a:off x="361741" y="1193533"/>
          <a:ext cx="11220622" cy="5160900"/>
        </p:xfrm>
        <a:graphic>
          <a:graphicData uri="http://schemas.openxmlformats.org/drawingml/2006/table">
            <a:tbl>
              <a:tblPr firstRow="1" firstCol="1" bandRow="1">
                <a:solidFill>
                  <a:srgbClr val="F2F2F2">
                    <a:alpha val="30196"/>
                  </a:srgbClr>
                </a:solidFill>
              </a:tblPr>
              <a:tblGrid>
                <a:gridCol w="1180264">
                  <a:extLst>
                    <a:ext uri="{9D8B030D-6E8A-4147-A177-3AD203B41FA5}">
                      <a16:colId xmlns:a16="http://schemas.microsoft.com/office/drawing/2014/main" val="421084245"/>
                    </a:ext>
                  </a:extLst>
                </a:gridCol>
                <a:gridCol w="10040358">
                  <a:extLst>
                    <a:ext uri="{9D8B030D-6E8A-4147-A177-3AD203B41FA5}">
                      <a16:colId xmlns:a16="http://schemas.microsoft.com/office/drawing/2014/main" val="3974086313"/>
                    </a:ext>
                  </a:extLst>
                </a:gridCol>
              </a:tblGrid>
              <a:tr h="451301">
                <a:tc>
                  <a:txBody>
                    <a:bodyPr/>
                    <a:lstStyle/>
                    <a:p>
                      <a:pPr>
                        <a:tabLst>
                          <a:tab pos="3978910" algn="l"/>
                        </a:tabLst>
                      </a:pPr>
                      <a:r>
                        <a:rPr lang="fr-FR" sz="1500" b="0" cap="none" spc="0" dirty="0">
                          <a:solidFill>
                            <a:schemeClr val="bg1"/>
                          </a:solidFill>
                          <a:effectLst/>
                          <a:latin typeface="Arial" panose="020B0604020202020204" pitchFamily="34" charset="0"/>
                          <a:ea typeface="Times New Roman" panose="02020603050405020304" pitchFamily="18" charset="0"/>
                        </a:rPr>
                        <a:t>Séance</a:t>
                      </a:r>
                      <a:endParaRPr lang="fr-FR" sz="1500" b="0" cap="none" spc="0" dirty="0">
                        <a:solidFill>
                          <a:schemeClr val="bg1"/>
                        </a:solidFill>
                        <a:effectLst/>
                        <a:latin typeface="Times New Roman" panose="02020603050405020304" pitchFamily="18" charset="0"/>
                        <a:ea typeface="Times New Roman" panose="02020603050405020304" pitchFamily="18" charset="0"/>
                      </a:endParaRPr>
                    </a:p>
                  </a:txBody>
                  <a:tcPr marL="123949" marR="71509" marT="95345" marB="95345" anchor="ctr">
                    <a:lnL w="19050" cap="flat" cmpd="sng" algn="ctr">
                      <a:noFill/>
                      <a:prstDash val="solid"/>
                    </a:lnL>
                    <a:lnR w="12700" cmpd="sng">
                      <a:noFill/>
                    </a:lnR>
                    <a:lnT w="19050" cap="flat" cmpd="sng" algn="ctr">
                      <a:noFill/>
                      <a:prstDash val="solid"/>
                    </a:lnT>
                    <a:lnB w="38100" cmpd="sng">
                      <a:noFill/>
                    </a:lnB>
                    <a:solidFill>
                      <a:schemeClr val="accent1"/>
                    </a:solidFill>
                  </a:tcPr>
                </a:tc>
                <a:tc>
                  <a:txBody>
                    <a:bodyPr/>
                    <a:lstStyle/>
                    <a:p>
                      <a:pPr>
                        <a:tabLst>
                          <a:tab pos="3978910" algn="l"/>
                        </a:tabLst>
                      </a:pPr>
                      <a:r>
                        <a:rPr lang="fr-FR" sz="1500" b="0" cap="none" spc="0" dirty="0">
                          <a:solidFill>
                            <a:schemeClr val="bg1"/>
                          </a:solidFill>
                          <a:effectLst/>
                          <a:latin typeface="Arial" panose="020B0604020202020204" pitchFamily="34" charset="0"/>
                          <a:ea typeface="Times New Roman" panose="02020603050405020304" pitchFamily="18" charset="0"/>
                        </a:rPr>
                        <a:t>Contenu des séances</a:t>
                      </a:r>
                      <a:endParaRPr lang="fr-FR" sz="1500" b="0" cap="none" spc="0" dirty="0">
                        <a:solidFill>
                          <a:schemeClr val="bg1"/>
                        </a:solidFill>
                        <a:effectLst/>
                        <a:latin typeface="Times New Roman" panose="02020603050405020304" pitchFamily="18" charset="0"/>
                        <a:ea typeface="Times New Roman" panose="02020603050405020304" pitchFamily="18" charset="0"/>
                      </a:endParaRPr>
                    </a:p>
                  </a:txBody>
                  <a:tcPr marL="123949" marR="71509" marT="95345" marB="95345" anchor="ctr">
                    <a:lnL w="12700" cmpd="sng">
                      <a:noFill/>
                    </a:lnL>
                    <a:lnR w="12700" cmpd="sng">
                      <a:noFill/>
                    </a:lnR>
                    <a:lnT w="19050" cap="flat" cmpd="sng" algn="ctr">
                      <a:noFill/>
                      <a:prstDash val="solid"/>
                    </a:lnT>
                    <a:lnB w="38100" cmpd="sng">
                      <a:noFill/>
                    </a:lnB>
                    <a:solidFill>
                      <a:schemeClr val="accent1"/>
                    </a:solidFill>
                  </a:tcPr>
                </a:tc>
                <a:extLst>
                  <a:ext uri="{0D108BD9-81ED-4DB2-BD59-A6C34878D82A}">
                    <a16:rowId xmlns:a16="http://schemas.microsoft.com/office/drawing/2014/main" val="894008224"/>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2-3-4</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38100" cmpd="sng">
                      <a:noFill/>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ncepts et principes de base de la comptabilité – Le PCG – Les différentes classes</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38100" cmpd="sng">
                      <a:noFill/>
                    </a:lnT>
                    <a:lnB w="6350" cap="flat" cmpd="sng" algn="ctr">
                      <a:noFill/>
                      <a:prstDash val="solid"/>
                    </a:lnB>
                    <a:solidFill>
                      <a:srgbClr val="F2F2F2">
                        <a:alpha val="30196"/>
                      </a:srgbClr>
                    </a:solidFill>
                  </a:tcPr>
                </a:tc>
                <a:extLst>
                  <a:ext uri="{0D108BD9-81ED-4DB2-BD59-A6C34878D82A}">
                    <a16:rowId xmlns:a16="http://schemas.microsoft.com/office/drawing/2014/main" val="2142013335"/>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5-6</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 comptabilisation – Les documents comptables – Les normes internationales</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771204828"/>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7-8</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ompte de résultat - Analyse</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307725469"/>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9-10</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Les actifs – Les immobilisations – IFRS 16</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016166339"/>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1-12</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Les actifs</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015265399"/>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3-14</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Le passif – les capitaux propres – Les provisions</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4279858747"/>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5-16</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Le bilan – le passif – Dettes à LT et autres dettes </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3544203615"/>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7-18</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écritures d’inventaire</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913093419"/>
                  </a:ext>
                </a:extLst>
              </a:tr>
              <a:tr h="451301">
                <a:tc>
                  <a:txBody>
                    <a:bodyPr/>
                    <a:lstStyle/>
                    <a:p>
                      <a:pPr>
                        <a:tabLst>
                          <a:tab pos="3978910" algn="l"/>
                        </a:tabLst>
                      </a:pPr>
                      <a:r>
                        <a:rPr lang="fr-FR" sz="1500" cap="none" spc="0" dirty="0">
                          <a:solidFill>
                            <a:schemeClr val="tx1"/>
                          </a:solidFill>
                          <a:effectLst/>
                          <a:latin typeface="Times New Roman" panose="02020603050405020304" pitchFamily="18" charset="0"/>
                          <a:ea typeface="Times New Roman" panose="02020603050405020304" pitchFamily="18" charset="0"/>
                        </a:rPr>
                        <a:t>19-20</a:t>
                      </a: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nnexe</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480796521"/>
                  </a:ext>
                </a:extLst>
              </a:tr>
              <a:tr h="451301">
                <a:tc>
                  <a:txBody>
                    <a:bodyPr/>
                    <a:lstStyle/>
                    <a:p>
                      <a:pPr>
                        <a:tabLst>
                          <a:tab pos="3978910" algn="l"/>
                        </a:tabLst>
                      </a:pPr>
                      <a:r>
                        <a:rPr lang="fr-FR" sz="1500" cap="none" spc="0" dirty="0">
                          <a:solidFill>
                            <a:schemeClr val="tx1"/>
                          </a:solidFill>
                          <a:effectLst/>
                          <a:latin typeface="Times New Roman" panose="02020603050405020304" pitchFamily="18" charset="0"/>
                          <a:ea typeface="Times New Roman" panose="02020603050405020304" pitchFamily="18" charset="0"/>
                        </a:rPr>
                        <a:t>21-22</a:t>
                      </a: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points particuliers – La TVA – Affectation du résultat</a:t>
                      </a:r>
                    </a:p>
                    <a:p>
                      <a:pPr algn="just">
                        <a:tabLst>
                          <a:tab pos="3978910" algn="l"/>
                        </a:tabLst>
                      </a:pPr>
                      <a:endPar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654891150"/>
                  </a:ext>
                </a:extLst>
              </a:tr>
            </a:tbl>
          </a:graphicData>
        </a:graphic>
      </p:graphicFrame>
    </p:spTree>
    <p:extLst>
      <p:ext uri="{BB962C8B-B14F-4D97-AF65-F5344CB8AC3E}">
        <p14:creationId xmlns:p14="http://schemas.microsoft.com/office/powerpoint/2010/main" val="2516914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E COÛT HISTORIQUE</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392903" y="2269031"/>
            <a:ext cx="9405891" cy="2403571"/>
          </a:xfrm>
          <a:prstGeom prst="rect">
            <a:avLst/>
          </a:prstGeom>
        </p:spPr>
        <p:txBody>
          <a:bodyPr vert="horz" lIns="91440" tIns="45720" rIns="91440" bIns="45720" rtlCol="0" anchor="t">
            <a:noAutofit/>
          </a:bodyPr>
          <a:lstStyle/>
          <a:p>
            <a:pPr marR="0" lvl="0" fontAlgn="auto">
              <a:lnSpc>
                <a:spcPct val="120000"/>
              </a:lnSpc>
              <a:spcBef>
                <a:spcPts val="0"/>
              </a:spcBef>
              <a:spcAft>
                <a:spcPts val="600"/>
              </a:spcAft>
              <a:buClr>
                <a:schemeClr val="accent1"/>
              </a:buClr>
              <a:buSzPct val="100000"/>
              <a:tabLst/>
              <a:defRPr/>
            </a:pPr>
            <a:r>
              <a:rPr lang="fr-FR" sz="2400" dirty="0">
                <a:latin typeface="Arial" panose="020B0604020202020204" pitchFamily="34" charset="0"/>
                <a:cs typeface="Arial" panose="020B0604020202020204" pitchFamily="34" charset="0"/>
              </a:rPr>
              <a:t>Ce principe comptable consiste à respecter la valeur nominale de la monnaie sans tenir compte des variations de son pouvoir d'achat. Il suppose donc que l'unité monétaire est une unité de mesure stable et que l'on peut additionner les unités monétaires de différentes époques.</a:t>
            </a:r>
            <a:endParaRPr lang="en-US" sz="2400" dirty="0">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8600199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SEPARATION DES EXERCICES</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000" dirty="0">
                <a:latin typeface="Arial" panose="020B0604020202020204" pitchFamily="34" charset="0"/>
                <a:cs typeface="Arial" panose="020B0604020202020204" pitchFamily="34" charset="0"/>
              </a:rPr>
              <a:t>Ce principe comptable est en relation directe avec celui de la continuité d'exploitation. Les différents utilisateurs de l'information comptable (propriétaires, dirigeants, personnel, tiers et l'Etat) ont besoin d'informations périodiques. Il faut déterminer les résultats de la gestion passée de l'entreprise et prévoir les résultats futurs, et donc découper la vie continue des entreprises en périodes ou en exercices comptables.</a:t>
            </a:r>
            <a:endParaRPr lang="en-US" sz="2000" dirty="0">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7879908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CONTINUITE D’EXPLOITATION</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000" b="0" i="0" dirty="0">
                <a:effectLst/>
                <a:latin typeface="Arial" panose="020B0604020202020204" pitchFamily="34" charset="0"/>
                <a:cs typeface="Arial" panose="020B0604020202020204" pitchFamily="34" charset="0"/>
              </a:rPr>
              <a:t>Ce</a:t>
            </a:r>
            <a:r>
              <a:rPr lang="fr-FR" sz="2000" b="1" i="0" dirty="0">
                <a:effectLst/>
                <a:latin typeface="Arial" panose="020B0604020202020204" pitchFamily="34" charset="0"/>
                <a:cs typeface="Arial" panose="020B0604020202020204" pitchFamily="34" charset="0"/>
              </a:rPr>
              <a:t> principe comptable</a:t>
            </a:r>
            <a:r>
              <a:rPr lang="fr-FR" sz="2000" b="0" i="0" dirty="0">
                <a:effectLst/>
                <a:latin typeface="Arial" panose="020B0604020202020204" pitchFamily="34" charset="0"/>
                <a:cs typeface="Arial" panose="020B0604020202020204" pitchFamily="34" charset="0"/>
              </a:rPr>
              <a:t> stipule que  : « Le bilan d'ouverture d'un exercice doit correspondre au bilan de clôture de l'exercice précédent » (C. com. art. L 123-19, al. 3 et PCG, art. 130-2). </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000" b="0" i="0" dirty="0">
                <a:effectLst/>
                <a:latin typeface="Arial" panose="020B0604020202020204" pitchFamily="34" charset="0"/>
                <a:cs typeface="Arial" panose="020B0604020202020204" pitchFamily="34" charset="0"/>
              </a:rPr>
              <a:t>Le PCG précise qu'il s'agit du bilan de clôture avant répartition.</a:t>
            </a:r>
            <a:endParaRPr lang="en-US" sz="1700" dirty="0">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5940994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CONTINUITE D’EXPLOITATION</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000" b="1" i="0" dirty="0">
                <a:effectLst/>
                <a:latin typeface="Arial" panose="020B0604020202020204" pitchFamily="34" charset="0"/>
                <a:cs typeface="Arial" panose="020B0604020202020204" pitchFamily="34" charset="0"/>
              </a:rPr>
              <a:t>Le principe comptable</a:t>
            </a:r>
            <a:r>
              <a:rPr lang="fr-FR" sz="2000" b="0" i="0" dirty="0">
                <a:effectLst/>
                <a:latin typeface="Arial" panose="020B0604020202020204" pitchFamily="34" charset="0"/>
                <a:cs typeface="Arial" panose="020B0604020202020204" pitchFamily="34" charset="0"/>
              </a:rPr>
              <a:t> de non-compensation stipule : « Les éléments d'actif et de passif doivent être évalués séparément. Aucune compensation ne peut être opérée entre les postes (lignes du bilan et du compte de résultat) d'actif et de passif du bilan ou entre les postes de charges et de produits du compte de résultat » (C. com. art. L 123-19 et PCG, art. 130-2 et 130-3).</a:t>
            </a:r>
            <a:endParaRPr lang="en-US" sz="1700" dirty="0">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4394612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45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9093496" y="618681"/>
            <a:ext cx="2613872" cy="4794567"/>
          </a:xfrm>
          <a:prstGeom prst="ellipse">
            <a:avLst/>
          </a:prstGeom>
        </p:spPr>
        <p:txBody>
          <a:bodyPr vert="horz" lIns="91440" tIns="45720" rIns="91440" bIns="45720" rtlCol="0" anchor="ctr">
            <a:normAutofit/>
          </a:bodyPr>
          <a:lstStyle/>
          <a:p>
            <a:r>
              <a:rPr lang="en-US" sz="3600">
                <a:solidFill>
                  <a:srgbClr val="FFFFFF"/>
                </a:solidFill>
              </a:rPr>
              <a:t>Merci</a:t>
            </a:r>
          </a:p>
        </p:txBody>
      </p:sp>
      <p:sp>
        <p:nvSpPr>
          <p:cNvPr id="90"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5579" r="5579"/>
          <a:stretch/>
        </p:blipFill>
        <p:spPr>
          <a:xfrm>
            <a:off x="976251" y="942538"/>
            <a:ext cx="7163222" cy="4808332"/>
          </a:xfrm>
          <a:prstGeom prst="rect">
            <a:avLst/>
          </a:prstGeom>
          <a:effectLst/>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62046135"/>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Freeform: Shape 29">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657137" y="1335657"/>
            <a:ext cx="11121005" cy="4351338"/>
          </a:xfrm>
          <a:prstGeom prst="ellipse">
            <a:avLst/>
          </a:prstGeom>
        </p:spPr>
        <p:txBody>
          <a:bodyPr vert="horz" lIns="91440" tIns="45720" rIns="91440" bIns="45720" rtlCol="0" anchor="ctr">
            <a:noAutofit/>
          </a:bodyPr>
          <a:lstStyle/>
          <a:p>
            <a:pPr algn="just"/>
            <a:r>
              <a:rPr lang="fr-FR" sz="3200" b="0" i="0" dirty="0">
                <a:solidFill>
                  <a:srgbClr val="202124"/>
                </a:solidFill>
                <a:effectLst/>
                <a:latin typeface="arial" panose="020B0604020202020204" pitchFamily="34" charset="0"/>
              </a:rPr>
              <a:t>La </a:t>
            </a:r>
            <a:r>
              <a:rPr lang="fr-FR" sz="3200" b="1" i="0" dirty="0">
                <a:solidFill>
                  <a:srgbClr val="202124"/>
                </a:solidFill>
                <a:effectLst/>
                <a:latin typeface="arial" panose="020B0604020202020204" pitchFamily="34" charset="0"/>
              </a:rPr>
              <a:t>comptabilité : c’est avant du droit !</a:t>
            </a:r>
            <a:br>
              <a:rPr lang="fr-FR" sz="3200" b="1" i="0" dirty="0">
                <a:solidFill>
                  <a:srgbClr val="202124"/>
                </a:solidFill>
                <a:effectLst/>
                <a:latin typeface="arial" panose="020B0604020202020204" pitchFamily="34" charset="0"/>
              </a:rPr>
            </a:br>
            <a:br>
              <a:rPr lang="fr-FR" sz="3200" b="1" i="0" dirty="0">
                <a:solidFill>
                  <a:srgbClr val="202124"/>
                </a:solidFill>
                <a:effectLst/>
                <a:latin typeface="arial" panose="020B0604020202020204" pitchFamily="34" charset="0"/>
              </a:rPr>
            </a:br>
            <a:endParaRPr lang="fr-FR" sz="3200" kern="1200" dirty="0">
              <a:solidFill>
                <a:schemeClr val="tx1"/>
              </a:solidFill>
              <a:latin typeface="+mj-lt"/>
              <a:ea typeface="+mj-ea"/>
              <a:cs typeface="+mj-cs"/>
            </a:endParaRPr>
          </a:p>
        </p:txBody>
      </p:sp>
      <p:sp>
        <p:nvSpPr>
          <p:cNvPr id="34" name="Arc 3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Rectangle 2">
            <a:extLst>
              <a:ext uri="{FF2B5EF4-FFF2-40B4-BE49-F238E27FC236}">
                <a16:creationId xmlns:a16="http://schemas.microsoft.com/office/drawing/2014/main" id="{79900381-058A-49D1-91B1-63D7DD95F910}"/>
              </a:ext>
            </a:extLst>
          </p:cNvPr>
          <p:cNvSpPr/>
          <p:nvPr/>
        </p:nvSpPr>
        <p:spPr>
          <a:xfrm>
            <a:off x="1179226" y="1591878"/>
            <a:ext cx="10355636" cy="830997"/>
          </a:xfrm>
          <a:prstGeom prst="rect">
            <a:avLst/>
          </a:prstGeom>
        </p:spPr>
        <p:txBody>
          <a:bodyPr wrap="square">
            <a:spAutoFit/>
          </a:bodyPr>
          <a:lstStyle/>
          <a:p>
            <a:endParaRPr lang="fr-FR" sz="2400" dirty="0"/>
          </a:p>
          <a:p>
            <a:endParaRPr lang="fr-FR" sz="2400" dirty="0"/>
          </a:p>
        </p:txBody>
      </p:sp>
    </p:spTree>
    <p:extLst>
      <p:ext uri="{BB962C8B-B14F-4D97-AF65-F5344CB8AC3E}">
        <p14:creationId xmlns:p14="http://schemas.microsoft.com/office/powerpoint/2010/main" val="38435763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Freeform: Shape 29">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34" name="Arc 3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Rectangle 2">
            <a:extLst>
              <a:ext uri="{FF2B5EF4-FFF2-40B4-BE49-F238E27FC236}">
                <a16:creationId xmlns:a16="http://schemas.microsoft.com/office/drawing/2014/main" id="{79900381-058A-49D1-91B1-63D7DD95F910}"/>
              </a:ext>
            </a:extLst>
          </p:cNvPr>
          <p:cNvSpPr/>
          <p:nvPr/>
        </p:nvSpPr>
        <p:spPr>
          <a:xfrm>
            <a:off x="1179226" y="1591878"/>
            <a:ext cx="10355636" cy="830997"/>
          </a:xfrm>
          <a:prstGeom prst="rect">
            <a:avLst/>
          </a:prstGeom>
        </p:spPr>
        <p:txBody>
          <a:bodyPr wrap="square">
            <a:spAutoFit/>
          </a:bodyPr>
          <a:lstStyle/>
          <a:p>
            <a:endParaRPr lang="fr-FR" sz="2400" dirty="0"/>
          </a:p>
          <a:p>
            <a:endParaRPr lang="fr-FR" sz="2400" dirty="0"/>
          </a:p>
        </p:txBody>
      </p:sp>
      <p:graphicFrame>
        <p:nvGraphicFramePr>
          <p:cNvPr id="11" name="Diagramme 10">
            <a:extLst>
              <a:ext uri="{FF2B5EF4-FFF2-40B4-BE49-F238E27FC236}">
                <a16:creationId xmlns:a16="http://schemas.microsoft.com/office/drawing/2014/main" id="{E94DFFC9-EC83-475B-9CC4-E7F2C5E65D08}"/>
              </a:ext>
            </a:extLst>
          </p:cNvPr>
          <p:cNvGraphicFramePr/>
          <p:nvPr>
            <p:extLst>
              <p:ext uri="{D42A27DB-BD31-4B8C-83A1-F6EECF244321}">
                <p14:modId xmlns:p14="http://schemas.microsoft.com/office/powerpoint/2010/main" val="3903327845"/>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31932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Freeform: Shape 29">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34" name="Arc 3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Rectangle 2">
            <a:extLst>
              <a:ext uri="{FF2B5EF4-FFF2-40B4-BE49-F238E27FC236}">
                <a16:creationId xmlns:a16="http://schemas.microsoft.com/office/drawing/2014/main" id="{79900381-058A-49D1-91B1-63D7DD95F910}"/>
              </a:ext>
            </a:extLst>
          </p:cNvPr>
          <p:cNvSpPr/>
          <p:nvPr/>
        </p:nvSpPr>
        <p:spPr>
          <a:xfrm>
            <a:off x="1179226" y="1591878"/>
            <a:ext cx="10355636" cy="830997"/>
          </a:xfrm>
          <a:prstGeom prst="rect">
            <a:avLst/>
          </a:prstGeom>
        </p:spPr>
        <p:txBody>
          <a:bodyPr wrap="square">
            <a:spAutoFit/>
          </a:bodyPr>
          <a:lstStyle/>
          <a:p>
            <a:endParaRPr lang="fr-FR" sz="2400" dirty="0"/>
          </a:p>
          <a:p>
            <a:endParaRPr lang="fr-FR" sz="2400" dirty="0"/>
          </a:p>
        </p:txBody>
      </p:sp>
      <p:graphicFrame>
        <p:nvGraphicFramePr>
          <p:cNvPr id="11" name="Diagramme 10">
            <a:extLst>
              <a:ext uri="{FF2B5EF4-FFF2-40B4-BE49-F238E27FC236}">
                <a16:creationId xmlns:a16="http://schemas.microsoft.com/office/drawing/2014/main" id="{BE7017E8-72FF-4D63-A4AE-8C9FCD2F6E61}"/>
              </a:ext>
            </a:extLst>
          </p:cNvPr>
          <p:cNvGraphicFramePr/>
          <p:nvPr>
            <p:extLst>
              <p:ext uri="{D42A27DB-BD31-4B8C-83A1-F6EECF244321}">
                <p14:modId xmlns:p14="http://schemas.microsoft.com/office/powerpoint/2010/main" val="85151568"/>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173125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4842FF-7B87-4819-9D9E-8FAB225F796F}"/>
              </a:ext>
            </a:extLst>
          </p:cNvPr>
          <p:cNvSpPr>
            <a:spLocks noGrp="1"/>
          </p:cNvSpPr>
          <p:nvPr>
            <p:ph type="title"/>
          </p:nvPr>
        </p:nvSpPr>
        <p:spPr/>
        <p:txBody>
          <a:bodyPr/>
          <a:lstStyle/>
          <a:p>
            <a:r>
              <a:rPr lang="fr-FR" dirty="0"/>
              <a:t>Que signifie IFRS / IAS</a:t>
            </a:r>
          </a:p>
        </p:txBody>
      </p:sp>
      <p:sp>
        <p:nvSpPr>
          <p:cNvPr id="3" name="Espace réservé du contenu 2">
            <a:extLst>
              <a:ext uri="{FF2B5EF4-FFF2-40B4-BE49-F238E27FC236}">
                <a16:creationId xmlns:a16="http://schemas.microsoft.com/office/drawing/2014/main" id="{AE031ED6-BBEB-4F69-BB03-35ED79344BB4}"/>
              </a:ext>
            </a:extLst>
          </p:cNvPr>
          <p:cNvSpPr>
            <a:spLocks noGrp="1"/>
          </p:cNvSpPr>
          <p:nvPr>
            <p:ph idx="1"/>
          </p:nvPr>
        </p:nvSpPr>
        <p:spPr>
          <a:xfrm>
            <a:off x="1451579" y="2015732"/>
            <a:ext cx="6301771" cy="3450613"/>
          </a:xfrm>
        </p:spPr>
        <p:txBody>
          <a:bodyPr>
            <a:normAutofit fontScale="92500" lnSpcReduction="10000"/>
          </a:bodyPr>
          <a:lstStyle/>
          <a:p>
            <a:r>
              <a:rPr lang="fr-FR" dirty="0">
                <a:latin typeface="Arial" panose="020B0604020202020204" pitchFamily="34" charset="0"/>
                <a:cs typeface="Arial" panose="020B0604020202020204" pitchFamily="34" charset="0"/>
              </a:rPr>
              <a:t>Les normes IFRS (International </a:t>
            </a:r>
            <a:r>
              <a:rPr lang="fr-FR" dirty="0" err="1">
                <a:latin typeface="Arial" panose="020B0604020202020204" pitchFamily="34" charset="0"/>
                <a:cs typeface="Arial" panose="020B0604020202020204" pitchFamily="34" charset="0"/>
              </a:rPr>
              <a:t>financial</a:t>
            </a:r>
            <a:r>
              <a:rPr lang="fr-FR" dirty="0">
                <a:latin typeface="Arial" panose="020B0604020202020204" pitchFamily="34" charset="0"/>
                <a:cs typeface="Arial" panose="020B0604020202020204" pitchFamily="34" charset="0"/>
              </a:rPr>
              <a:t> </a:t>
            </a:r>
            <a:r>
              <a:rPr lang="fr-FR" dirty="0" err="1">
                <a:latin typeface="Arial" panose="020B0604020202020204" pitchFamily="34" charset="0"/>
                <a:cs typeface="Arial" panose="020B0604020202020204" pitchFamily="34" charset="0"/>
              </a:rPr>
              <a:t>reporting</a:t>
            </a:r>
            <a:r>
              <a:rPr lang="fr-FR" dirty="0">
                <a:latin typeface="Arial" panose="020B0604020202020204" pitchFamily="34" charset="0"/>
                <a:cs typeface="Arial" panose="020B0604020202020204" pitchFamily="34" charset="0"/>
              </a:rPr>
              <a:t> standards). sont les normes internationales d'informations </a:t>
            </a:r>
            <a:r>
              <a:rPr lang="fr-FR" b="1" dirty="0">
                <a:latin typeface="Arial" panose="020B0604020202020204" pitchFamily="34" charset="0"/>
                <a:cs typeface="Arial" panose="020B0604020202020204" pitchFamily="34" charset="0"/>
              </a:rPr>
              <a:t>financières</a:t>
            </a:r>
            <a:r>
              <a:rPr lang="fr-FR" dirty="0">
                <a:latin typeface="Arial" panose="020B0604020202020204" pitchFamily="34" charset="0"/>
                <a:cs typeface="Arial" panose="020B0604020202020204" pitchFamily="34" charset="0"/>
              </a:rPr>
              <a:t> destinées à standardiser la présentation des données comptables échangées au niveau international.</a:t>
            </a:r>
          </a:p>
          <a:p>
            <a:endParaRPr lang="fr-FR" dirty="0">
              <a:latin typeface="Arial" panose="020B0604020202020204" pitchFamily="34" charset="0"/>
              <a:cs typeface="Arial" panose="020B0604020202020204" pitchFamily="34" charset="0"/>
            </a:endParaRPr>
          </a:p>
          <a:p>
            <a:r>
              <a:rPr lang="fr-FR" dirty="0">
                <a:latin typeface="Arial" panose="020B0604020202020204" pitchFamily="34" charset="0"/>
                <a:cs typeface="Arial" panose="020B0604020202020204" pitchFamily="34" charset="0"/>
              </a:rPr>
              <a:t>Ces normes « remplacent » depuis 2005 les normes IAS</a:t>
            </a:r>
          </a:p>
          <a:p>
            <a:pPr marL="0" indent="0">
              <a:buNone/>
            </a:pPr>
            <a:r>
              <a:rPr lang="fr-FR" dirty="0">
                <a:latin typeface="Arial" panose="020B0604020202020204" pitchFamily="34" charset="0"/>
                <a:cs typeface="Arial" panose="020B0604020202020204" pitchFamily="34" charset="0"/>
              </a:rPr>
              <a:t>	International </a:t>
            </a:r>
            <a:r>
              <a:rPr lang="fr-FR" b="1" dirty="0" err="1">
                <a:latin typeface="Arial" panose="020B0604020202020204" pitchFamily="34" charset="0"/>
                <a:cs typeface="Arial" panose="020B0604020202020204" pitchFamily="34" charset="0"/>
              </a:rPr>
              <a:t>Accounting</a:t>
            </a:r>
            <a:r>
              <a:rPr lang="fr-FR" dirty="0">
                <a:latin typeface="Arial" panose="020B0604020202020204" pitchFamily="34" charset="0"/>
                <a:cs typeface="Arial" panose="020B0604020202020204" pitchFamily="34" charset="0"/>
              </a:rPr>
              <a:t> Standards</a:t>
            </a:r>
          </a:p>
        </p:txBody>
      </p:sp>
      <p:graphicFrame>
        <p:nvGraphicFramePr>
          <p:cNvPr id="4" name="Diagramme 3">
            <a:extLst>
              <a:ext uri="{FF2B5EF4-FFF2-40B4-BE49-F238E27FC236}">
                <a16:creationId xmlns:a16="http://schemas.microsoft.com/office/drawing/2014/main" id="{488D6A1A-BF89-4D2E-88D9-A81243FEE2E3}"/>
              </a:ext>
            </a:extLst>
          </p:cNvPr>
          <p:cNvGraphicFramePr/>
          <p:nvPr/>
        </p:nvGraphicFramePr>
        <p:xfrm>
          <a:off x="7124700" y="973295"/>
          <a:ext cx="4686300" cy="3613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831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88629" y="4760132"/>
            <a:ext cx="8873434" cy="1777829"/>
          </a:xfrm>
          <a:prstGeom prst="ellipse">
            <a:avLst/>
          </a:prstGeom>
        </p:spPr>
        <p:txBody>
          <a:bodyPr vert="horz" lIns="91440" tIns="45720" rIns="91440" bIns="45720" rtlCol="0" anchor="ctr">
            <a:normAutofit fontScale="90000"/>
          </a:bodyPr>
          <a:lstStyle/>
          <a:p>
            <a:pPr algn="r"/>
            <a:r>
              <a:rPr lang="en-US" sz="4000" dirty="0" err="1">
                <a:latin typeface="Arial" panose="020B0604020202020204" pitchFamily="34" charset="0"/>
                <a:cs typeface="Arial" panose="020B0604020202020204" pitchFamily="34" charset="0"/>
              </a:rPr>
              <a:t>Comptabilité</a:t>
            </a:r>
            <a:r>
              <a:rPr lang="en-US" sz="4000" dirty="0">
                <a:latin typeface="Arial" panose="020B0604020202020204" pitchFamily="34" charset="0"/>
                <a:cs typeface="Arial" panose="020B0604020202020204" pitchFamily="34" charset="0"/>
              </a:rPr>
              <a:t> – Son essence</a:t>
            </a:r>
            <a:br>
              <a:rPr lang="en-US" sz="2500" dirty="0"/>
            </a:br>
            <a:br>
              <a:rPr lang="en-US" sz="2500" dirty="0"/>
            </a:br>
            <a:endParaRPr lang="en-US" sz="2500" dirty="0"/>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2618" y="1273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66349221"/>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2495533827"/>
              </p:ext>
            </p:extLst>
          </p:nvPr>
        </p:nvGraphicFramePr>
        <p:xfrm>
          <a:off x="807722" y="1178351"/>
          <a:ext cx="10576558" cy="49880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0654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alerie">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3.xml><?xml version="1.0" encoding="utf-8"?>
<a:theme xmlns:a="http://schemas.openxmlformats.org/drawingml/2006/main" name="1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9</TotalTime>
  <Words>1390</Words>
  <Application>Microsoft Office PowerPoint</Application>
  <PresentationFormat>Grand écran</PresentationFormat>
  <Paragraphs>215</Paragraphs>
  <Slides>34</Slides>
  <Notes>28</Notes>
  <HiddenSlides>0</HiddenSlides>
  <MMClips>0</MMClips>
  <ScaleCrop>false</ScaleCrop>
  <HeadingPairs>
    <vt:vector size="6" baseType="variant">
      <vt:variant>
        <vt:lpstr>Polices utilisées</vt:lpstr>
      </vt:variant>
      <vt:variant>
        <vt:i4>7</vt:i4>
      </vt:variant>
      <vt:variant>
        <vt:lpstr>Thème</vt:lpstr>
      </vt:variant>
      <vt:variant>
        <vt:i4>3</vt:i4>
      </vt:variant>
      <vt:variant>
        <vt:lpstr>Titres des diapositives</vt:lpstr>
      </vt:variant>
      <vt:variant>
        <vt:i4>34</vt:i4>
      </vt:variant>
    </vt:vector>
  </HeadingPairs>
  <TitlesOfParts>
    <vt:vector size="44" baseType="lpstr">
      <vt:lpstr>Arial</vt:lpstr>
      <vt:lpstr>Arial</vt:lpstr>
      <vt:lpstr>Calibri</vt:lpstr>
      <vt:lpstr>Calibri Light</vt:lpstr>
      <vt:lpstr>Gill Sans MT</vt:lpstr>
      <vt:lpstr>Times New Roman</vt:lpstr>
      <vt:lpstr>Tw Cen MT</vt:lpstr>
      <vt:lpstr>Thème Office</vt:lpstr>
      <vt:lpstr>Galerie</vt:lpstr>
      <vt:lpstr>1_Thème Office</vt:lpstr>
      <vt:lpstr>Université de Montpellier </vt:lpstr>
      <vt:lpstr> Les objectifs</vt:lpstr>
      <vt:lpstr>Programme prévisionnel</vt:lpstr>
      <vt:lpstr>La comptabilité : c’est avant du droit !  </vt:lpstr>
      <vt:lpstr>Présentation PowerPoint</vt:lpstr>
      <vt:lpstr>Présentation PowerPoint</vt:lpstr>
      <vt:lpstr>Que signifie IFRS / IAS</vt:lpstr>
      <vt:lpstr>Comptabilité – Son essence  </vt:lpstr>
      <vt:lpstr>Présentation PowerPoint</vt:lpstr>
      <vt:lpstr>Comptabilité – Les acteurs  </vt:lpstr>
      <vt:lpstr> </vt:lpstr>
      <vt:lpstr>Comptabilité – Les outils – “le vocabulaire”  </vt:lpstr>
      <vt:lpstr>Le PCG </vt:lpstr>
      <vt:lpstr>Le PCG </vt:lpstr>
      <vt:lpstr>Présentation PowerPoint</vt:lpstr>
      <vt:lpstr>Le PCG – Une merveille</vt:lpstr>
      <vt:lpstr>Présentation PowerPoint</vt:lpstr>
      <vt:lpstr>Présentation PowerPoint</vt:lpstr>
      <vt:lpstr>Présentation PowerPoint</vt:lpstr>
      <vt:lpstr>Citer les différents documents comptables </vt:lpstr>
      <vt:lpstr>La comptabilité et le langage  Exemple</vt:lpstr>
      <vt:lpstr>Préconisations</vt:lpstr>
      <vt:lpstr>Préconisations</vt:lpstr>
      <vt:lpstr>Le PCG – Une merveille et des principes</vt:lpstr>
      <vt:lpstr>Les principes</vt:lpstr>
      <vt:lpstr>Image fidèle</vt:lpstr>
      <vt:lpstr>Sincèrité et régularité</vt:lpstr>
      <vt:lpstr>La prudence</vt:lpstr>
      <vt:lpstr>La PERMANENCE DES METHODES</vt:lpstr>
      <vt:lpstr>LE COÛT HISTORIQUE</vt:lpstr>
      <vt:lpstr>LA SEPARATION DES EXERCICES</vt:lpstr>
      <vt:lpstr>La CONTINUITE D’EXPLOITATION</vt:lpstr>
      <vt:lpstr>La CONTINUITE D’EXPLOITATION</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mation Février 2021 ATHENA SECURITE</dc:title>
  <dc:creator>christophe CHUECOS-FONT</dc:creator>
  <cp:lastModifiedBy>christophe CHUECOS-FONT</cp:lastModifiedBy>
  <cp:revision>2</cp:revision>
  <dcterms:created xsi:type="dcterms:W3CDTF">2021-02-02T18:32:53Z</dcterms:created>
  <dcterms:modified xsi:type="dcterms:W3CDTF">2021-05-05T06:33:49Z</dcterms:modified>
</cp:coreProperties>
</file>